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7" r:id="rId5"/>
    <p:sldMasterId id="2147483685" r:id="rId6"/>
  </p:sldMasterIdLst>
  <p:notesMasterIdLst>
    <p:notesMasterId r:id="rId14"/>
  </p:notesMasterIdLst>
  <p:sldIdLst>
    <p:sldId id="257" r:id="rId7"/>
    <p:sldId id="2147375366" r:id="rId8"/>
    <p:sldId id="2147375367" r:id="rId9"/>
    <p:sldId id="2147375368" r:id="rId10"/>
    <p:sldId id="2147375369" r:id="rId11"/>
    <p:sldId id="2147375370" r:id="rId12"/>
    <p:sldId id="2147375371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ptions" id="{2117F789-C13C-484E-8CBE-97522DDE1E91}">
          <p14:sldIdLst>
            <p14:sldId id="257"/>
            <p14:sldId id="2147375366"/>
            <p14:sldId id="2147375367"/>
            <p14:sldId id="2147375368"/>
            <p14:sldId id="2147375369"/>
            <p14:sldId id="2147375370"/>
            <p14:sldId id="214737537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11CB237-87CF-74A9-B675-AFAED23BD322}" name="Jennifer Martin" initials="JM" userId="S::jennifer.martin@ukhsa.gov.uk::00c73b42-0669-44d6-87c7-ff233fe3363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ewall, Emma" initials="NE" lastIdx="2" clrIdx="0">
    <p:extLst>
      <p:ext uri="{19B8F6BF-5375-455C-9EA6-DF929625EA0E}">
        <p15:presenceInfo xmlns:p15="http://schemas.microsoft.com/office/powerpoint/2012/main" userId="S::Emma.Newall@dhsc.gov.uk::398591f0-a824-4fd6-89e6-909e734a138f" providerId="AD"/>
      </p:ext>
    </p:extLst>
  </p:cmAuthor>
  <p:cmAuthor id="2" name="Reynolds, Emma" initials="RE" lastIdx="11" clrIdx="1">
    <p:extLst>
      <p:ext uri="{19B8F6BF-5375-455C-9EA6-DF929625EA0E}">
        <p15:presenceInfo xmlns:p15="http://schemas.microsoft.com/office/powerpoint/2012/main" userId="S::Emma.Reynolds@dhsc.gov.uk::0095ad77-9065-4b38-bf76-fe3bb9465957" providerId="AD"/>
      </p:ext>
    </p:extLst>
  </p:cmAuthor>
  <p:cmAuthor id="3" name="Cotterell, Mary" initials="CM" lastIdx="5" clrIdx="2">
    <p:extLst>
      <p:ext uri="{19B8F6BF-5375-455C-9EA6-DF929625EA0E}">
        <p15:presenceInfo xmlns:p15="http://schemas.microsoft.com/office/powerpoint/2012/main" userId="S::mary.cotterell@dhsc.gov.uk::2e3ef46c-bf3b-48b2-a202-a9f6cd6c9539" providerId="AD"/>
      </p:ext>
    </p:extLst>
  </p:cmAuthor>
  <p:cmAuthor id="4" name="Cronin, Jennie" initials="CJ" lastIdx="2" clrIdx="3">
    <p:extLst>
      <p:ext uri="{19B8F6BF-5375-455C-9EA6-DF929625EA0E}">
        <p15:presenceInfo xmlns:p15="http://schemas.microsoft.com/office/powerpoint/2012/main" userId="S::jennie.cronin@dhsc.gov.uk::1ab19c39-bcf6-4ccb-895c-15a4f5c04d4a" providerId="AD"/>
      </p:ext>
    </p:extLst>
  </p:cmAuthor>
  <p:cmAuthor id="5" name="Paula Edwards" initials="PE" lastIdx="1" clrIdx="4">
    <p:extLst>
      <p:ext uri="{19B8F6BF-5375-455C-9EA6-DF929625EA0E}">
        <p15:presenceInfo xmlns:p15="http://schemas.microsoft.com/office/powerpoint/2012/main" userId="S::Paula.Edwards@ukhsa.gov.uk::8d14c08e-9f8e-48c7-9896-e5f55db4329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EDDA"/>
    <a:srgbClr val="D0F5FC"/>
    <a:srgbClr val="0BB1B5"/>
    <a:srgbClr val="E9EBF5"/>
    <a:srgbClr val="E2EF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5D382B3-FE34-E88F-3E5C-E16D2E7A07BF}" v="156" dt="2022-10-17T12:49:23.694"/>
    <p1510:client id="{C84F94E9-BD90-4DDF-AEDB-D6E5A429D501}" vWet="4" dt="2022-10-17T12:42:12.6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7" d="100"/>
          <a:sy n="57" d="100"/>
        </p:scale>
        <p:origin x="992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hyperlink" Target="mailto:Eniola.Onafowokan@ukhsa.gov.uk" TargetMode="External"/><Relationship Id="rId2" Type="http://schemas.openxmlformats.org/officeDocument/2006/relationships/hyperlink" Target="mailto:translations@aaglobal.co.uk" TargetMode="External"/><Relationship Id="rId1" Type="http://schemas.openxmlformats.org/officeDocument/2006/relationships/hyperlink" Target="https://phecloud.sharepoint.com/:x:/r/teams/HPOpsCustomerExperienceTeam/Shared%20Documents/Human-Centred%20Design/Design%20Ops/Suppliers/AA%20Global/AA%20Global/AA%20Global%20Service%20Request%20Form.xlsx?d=w97c7068977134584a79dabb80a64e824&amp;csf=1&amp;web=1&amp;e=sUxvNU" TargetMode="External"/><Relationship Id="rId4" Type="http://schemas.openxmlformats.org/officeDocument/2006/relationships/hyperlink" Target="mailto:designops@ukhsa.gov.uk" TargetMode="External"/></Relationships>
</file>

<file path=ppt/diagrams/_rels/data2.xml.rels><?xml version="1.0" encoding="UTF-8" standalone="yes"?>
<Relationships xmlns="http://schemas.openxmlformats.org/package/2006/relationships"><Relationship Id="rId2" Type="http://schemas.openxmlformats.org/officeDocument/2006/relationships/hyperlink" Target="https://phecloud.sharepoint.com/:w:/r/teams/HPOpsCustomerExperienceTeam/Shared%20Documents/Customer%20Experience%20PMO/Procure%20to%20Pay/Procure%20to%20pay%20to%20guidelines%20and%20processes%20.docx?d=wd7064e23aa554e58b21013a04c25c50e&amp;csf=1&amp;web=1&amp;e=rpOoWB" TargetMode="External"/><Relationship Id="rId1" Type="http://schemas.openxmlformats.org/officeDocument/2006/relationships/hyperlink" Target="https://phecloud.sharepoint.com/:x:/r/teams/HPOpsCustomerExperienceTeam/Shared%20Documents/Human-Centred%20Design/Design%20Ops/Suppliers/AA%20Global/AA%20Global/Finance/Invoices/Translation%20Invoice%20Tracker/Translation%20Spend%20Tracker%20-%20AA%20Global%20-%20from%20Sept.%2021%20onward.xlsx?d=wb2cb3aff0bcb4d2b954fe7bc2f8272d3&amp;csf=1&amp;web=1&amp;e=urOqUf" TargetMode="External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hyperlink" Target="mailto:Eniola.Onafowokan@ukhsa.gov.uk" TargetMode="External"/><Relationship Id="rId2" Type="http://schemas.openxmlformats.org/officeDocument/2006/relationships/hyperlink" Target="mailto:translations@aaglobal.co.uk" TargetMode="External"/><Relationship Id="rId1" Type="http://schemas.openxmlformats.org/officeDocument/2006/relationships/hyperlink" Target="https://phecloud.sharepoint.com/:x:/r/teams/HPOpsCustomerExperienceTeam/Shared%20Documents/Human-Centred%20Design/Design%20Ops/Suppliers/AA%20Global/AA%20Global/AA%20Global%20Service%20Request%20Form.xlsx?d=w97c7068977134584a79dabb80a64e824&amp;csf=1&amp;web=1&amp;e=sUxvNU" TargetMode="External"/><Relationship Id="rId4" Type="http://schemas.openxmlformats.org/officeDocument/2006/relationships/hyperlink" Target="mailto:designops@ukhsa.gov.uk" TargetMode="External"/></Relationships>
</file>

<file path=ppt/diagrams/_rels/drawing2.xml.rels><?xml version="1.0" encoding="UTF-8" standalone="yes"?>
<Relationships xmlns="http://schemas.openxmlformats.org/package/2006/relationships"><Relationship Id="rId2" Type="http://schemas.openxmlformats.org/officeDocument/2006/relationships/hyperlink" Target="https://phecloud.sharepoint.com/:w:/r/teams/HPOpsCustomerExperienceTeam/Shared%20Documents/Customer%20Experience%20PMO/Procure%20to%20Pay/Procure%20to%20pay%20to%20guidelines%20and%20processes%20.docx?d=wd7064e23aa554e58b21013a04c25c50e&amp;csf=1&amp;web=1&amp;e=rpOoWB" TargetMode="External"/><Relationship Id="rId1" Type="http://schemas.openxmlformats.org/officeDocument/2006/relationships/hyperlink" Target="https://phecloud.sharepoint.com/:x:/r/teams/HPOpsCustomerExperienceTeam/Shared%20Documents/Human-Centred%20Design/Design%20Ops/Suppliers/AA%20Global/AA%20Global/Finance/Invoices/Translation%20Invoice%20Tracker/Translation%20Spend%20Tracker%20-%20AA%20Global%20-%20from%20Sept.%2021%20onward.xlsx?d=wb2cb3aff0bcb4d2b954fe7bc2f8272d3&amp;csf=1&amp;web=1&amp;e=urOqUf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3A4EF6A-06F5-491D-9D36-D066C34DCB86}" type="doc">
      <dgm:prSet loTypeId="urn:microsoft.com/office/officeart/2005/8/layout/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9790053C-DDC7-4293-8883-405BB826B1E3}">
      <dgm:prSet phldrT="[Text]" custT="1"/>
      <dgm:spPr>
        <a:solidFill>
          <a:srgbClr val="0BB1B5"/>
        </a:solidFill>
      </dgm:spPr>
      <dgm:t>
        <a:bodyPr/>
        <a:lstStyle/>
        <a:p>
          <a:r>
            <a:rPr lang="en-GB" sz="1800"/>
            <a:t>Complete request form outlining translation requirements </a:t>
          </a:r>
        </a:p>
        <a:p>
          <a:r>
            <a:rPr lang="en-GB" sz="1800">
              <a:hlinkClick xmlns:r="http://schemas.openxmlformats.org/officeDocument/2006/relationships" r:id="rId1"/>
            </a:rPr>
            <a:t>AA Global Service Request Form.xlsx</a:t>
          </a:r>
          <a:r>
            <a:rPr lang="en-GB" sz="1800"/>
            <a:t>  </a:t>
          </a:r>
        </a:p>
      </dgm:t>
    </dgm:pt>
    <dgm:pt modelId="{809A3E6C-ED10-49DF-8D04-D3A82ADA887F}" type="parTrans" cxnId="{CE1121E2-F60E-4EBA-A944-BB25805CA673}">
      <dgm:prSet/>
      <dgm:spPr/>
      <dgm:t>
        <a:bodyPr/>
        <a:lstStyle/>
        <a:p>
          <a:endParaRPr lang="en-GB"/>
        </a:p>
      </dgm:t>
    </dgm:pt>
    <dgm:pt modelId="{8A2E61B3-A96B-44BC-9E84-892C107D2AD2}" type="sibTrans" cxnId="{CE1121E2-F60E-4EBA-A944-BB25805CA673}">
      <dgm:prSet/>
      <dgm:spPr/>
      <dgm:t>
        <a:bodyPr/>
        <a:lstStyle/>
        <a:p>
          <a:endParaRPr lang="en-GB"/>
        </a:p>
      </dgm:t>
    </dgm:pt>
    <dgm:pt modelId="{E737DEF1-06A7-4BA9-BA89-717E90259194}">
      <dgm:prSet phldrT="[Text]" custT="1"/>
      <dgm:spPr>
        <a:solidFill>
          <a:srgbClr val="0BB1B5"/>
        </a:solidFill>
      </dgm:spPr>
      <dgm:t>
        <a:bodyPr/>
        <a:lstStyle/>
        <a:p>
          <a:pPr rtl="0"/>
          <a:r>
            <a:rPr lang="en-GB" sz="1800"/>
            <a:t>Email translation request form to: Yulia Pavlova (AA Global Translation Services) </a:t>
          </a:r>
          <a:r>
            <a:rPr lang="en-GB" sz="1800" u="sng">
              <a:solidFill>
                <a:srgbClr val="0070C0"/>
              </a:solidFill>
            </a:rPr>
            <a:t>Yulia@aaglobal.co.uk</a:t>
          </a:r>
          <a:r>
            <a:rPr lang="en-GB" sz="1800" u="sng">
              <a:solidFill>
                <a:srgbClr val="0070C0"/>
              </a:solidFill>
              <a:latin typeface="Calibri Light" panose="020F0302020204030204"/>
            </a:rPr>
            <a:t> </a:t>
          </a:r>
          <a:r>
            <a:rPr lang="en-GB" sz="1800">
              <a:latin typeface="Calibri Light" panose="020F0302020204030204"/>
            </a:rPr>
            <a:t> &amp; </a:t>
          </a:r>
          <a:r>
            <a:rPr lang="en-GB" sz="1800">
              <a:latin typeface="Calibri Light" panose="020F0302020204030204"/>
              <a:hlinkClick xmlns:r="http://schemas.openxmlformats.org/officeDocument/2006/relationships" r:id="rId2"/>
            </a:rPr>
            <a:t>translations@aaglobal.co.uk</a:t>
          </a:r>
          <a:r>
            <a:rPr lang="en-GB" sz="1800">
              <a:latin typeface="Calibri Light" panose="020F0302020204030204"/>
            </a:rPr>
            <a:t>                 Copy in</a:t>
          </a:r>
          <a:r>
            <a:rPr lang="en-GB" sz="1800"/>
            <a:t>:</a:t>
          </a:r>
          <a:r>
            <a:rPr lang="en-GB" sz="1800">
              <a:latin typeface="Calibri Light" panose="020F0302020204030204"/>
            </a:rPr>
            <a:t>                      </a:t>
          </a:r>
          <a:r>
            <a:rPr lang="en-GB" sz="1800">
              <a:latin typeface="Calibri Light" panose="020F0302020204030204"/>
              <a:hlinkClick xmlns:r="http://schemas.openxmlformats.org/officeDocument/2006/relationships" r:id="rId3"/>
            </a:rPr>
            <a:t>eniola</a:t>
          </a:r>
          <a:r>
            <a:rPr lang="en-GB" sz="1800">
              <a:hlinkClick xmlns:r="http://schemas.openxmlformats.org/officeDocument/2006/relationships" r:id="rId3"/>
            </a:rPr>
            <a:t>.Onafowokan@ukhsa.gov.uk</a:t>
          </a:r>
          <a:r>
            <a:rPr lang="en-GB" sz="1800">
              <a:latin typeface="Calibri Light" panose="020F0302020204030204"/>
            </a:rPr>
            <a:t> </a:t>
          </a:r>
          <a:r>
            <a:rPr lang="en-GB" sz="1800"/>
            <a:t> &amp; </a:t>
          </a:r>
          <a:r>
            <a:rPr lang="en-GB" sz="1800">
              <a:hlinkClick xmlns:r="http://schemas.openxmlformats.org/officeDocument/2006/relationships" r:id="rId4"/>
            </a:rPr>
            <a:t>designops@ukhsa.gov.uk</a:t>
          </a:r>
          <a:r>
            <a:rPr lang="en-GB" sz="1800">
              <a:latin typeface="Calibri Light" panose="020F0302020204030204"/>
            </a:rPr>
            <a:t> </a:t>
          </a:r>
          <a:endParaRPr lang="en-GB" sz="1800">
            <a:latin typeface="Calibri Light" panose="020F0302020204030204"/>
            <a:hlinkClick xmlns:r="http://schemas.openxmlformats.org/officeDocument/2006/relationships" r:id="rId2"/>
          </a:endParaRPr>
        </a:p>
      </dgm:t>
    </dgm:pt>
    <dgm:pt modelId="{B1AAA7CC-18E7-4B05-907F-E4E541A6CFA1}" type="parTrans" cxnId="{BA4D73AE-6741-41C3-BE39-716800230DB4}">
      <dgm:prSet/>
      <dgm:spPr/>
      <dgm:t>
        <a:bodyPr/>
        <a:lstStyle/>
        <a:p>
          <a:endParaRPr lang="en-GB"/>
        </a:p>
      </dgm:t>
    </dgm:pt>
    <dgm:pt modelId="{1260B51C-5531-43F8-89DE-9C5E63613339}" type="sibTrans" cxnId="{BA4D73AE-6741-41C3-BE39-716800230DB4}">
      <dgm:prSet/>
      <dgm:spPr/>
      <dgm:t>
        <a:bodyPr/>
        <a:lstStyle/>
        <a:p>
          <a:endParaRPr lang="en-GB"/>
        </a:p>
      </dgm:t>
    </dgm:pt>
    <dgm:pt modelId="{8F726D5F-DA7E-4EEB-8853-BE98A7420B4B}">
      <dgm:prSet phldrT="[Text]" custT="1"/>
      <dgm:spPr>
        <a:solidFill>
          <a:srgbClr val="0BB1B5"/>
        </a:solidFill>
      </dgm:spPr>
      <dgm:t>
        <a:bodyPr/>
        <a:lstStyle/>
        <a:p>
          <a:pPr rtl="0"/>
          <a:r>
            <a:rPr lang="en-GB" sz="1800"/>
            <a:t>AA Global responds with acknowledgement, quote</a:t>
          </a:r>
          <a:r>
            <a:rPr lang="en-GB" sz="1800">
              <a:latin typeface="Calibri Light" panose="020F0302020204030204"/>
            </a:rPr>
            <a:t>*</a:t>
          </a:r>
          <a:r>
            <a:rPr lang="en-GB" sz="1800"/>
            <a:t> and delivery date. If required, an email/teams discussion can be set up to discuss finer points of</a:t>
          </a:r>
          <a:r>
            <a:rPr lang="en-GB" sz="1800">
              <a:latin typeface="Calibri Light" panose="020F0302020204030204"/>
            </a:rPr>
            <a:t> the</a:t>
          </a:r>
          <a:r>
            <a:rPr lang="en-GB" sz="1800"/>
            <a:t> translation</a:t>
          </a:r>
          <a:r>
            <a:rPr lang="en-GB" sz="1800">
              <a:latin typeface="Calibri Light" panose="020F0302020204030204"/>
            </a:rPr>
            <a:t>  </a:t>
          </a:r>
          <a:endParaRPr lang="en-GB" sz="1800"/>
        </a:p>
      </dgm:t>
    </dgm:pt>
    <dgm:pt modelId="{27E2539C-4342-4E60-A230-503F73540DA5}" type="parTrans" cxnId="{9D7EB8DC-D520-4E30-B7ED-7325EEE68829}">
      <dgm:prSet/>
      <dgm:spPr/>
      <dgm:t>
        <a:bodyPr/>
        <a:lstStyle/>
        <a:p>
          <a:endParaRPr lang="en-GB"/>
        </a:p>
      </dgm:t>
    </dgm:pt>
    <dgm:pt modelId="{4BD6592B-470C-4B55-9B1C-1AF67DD82AAD}" type="sibTrans" cxnId="{9D7EB8DC-D520-4E30-B7ED-7325EEE68829}">
      <dgm:prSet/>
      <dgm:spPr/>
      <dgm:t>
        <a:bodyPr/>
        <a:lstStyle/>
        <a:p>
          <a:endParaRPr lang="en-GB"/>
        </a:p>
      </dgm:t>
    </dgm:pt>
    <dgm:pt modelId="{FAEB7FF9-0D82-4257-8185-850085F1ED51}">
      <dgm:prSet phldrT="[Text]" custT="1"/>
      <dgm:spPr>
        <a:solidFill>
          <a:srgbClr val="0BB1B5"/>
        </a:solidFill>
      </dgm:spPr>
      <dgm:t>
        <a:bodyPr/>
        <a:lstStyle/>
        <a:p>
          <a:r>
            <a:rPr lang="en-GB" sz="1800"/>
            <a:t>Translation delivered to requester </a:t>
          </a:r>
        </a:p>
      </dgm:t>
    </dgm:pt>
    <dgm:pt modelId="{9252CB14-AE39-4B10-83F3-C19D42417955}" type="parTrans" cxnId="{E23949B1-9F00-4310-A681-D571792AC768}">
      <dgm:prSet/>
      <dgm:spPr/>
      <dgm:t>
        <a:bodyPr/>
        <a:lstStyle/>
        <a:p>
          <a:endParaRPr lang="en-GB"/>
        </a:p>
      </dgm:t>
    </dgm:pt>
    <dgm:pt modelId="{813A4D41-4AB2-4696-92BC-A1614FB9602E}" type="sibTrans" cxnId="{E23949B1-9F00-4310-A681-D571792AC768}">
      <dgm:prSet/>
      <dgm:spPr/>
      <dgm:t>
        <a:bodyPr/>
        <a:lstStyle/>
        <a:p>
          <a:endParaRPr lang="en-GB"/>
        </a:p>
      </dgm:t>
    </dgm:pt>
    <dgm:pt modelId="{1AAAA105-9430-4B70-973C-8115318A88AE}" type="pres">
      <dgm:prSet presAssocID="{D3A4EF6A-06F5-491D-9D36-D066C34DCB86}" presName="diagram" presStyleCnt="0">
        <dgm:presLayoutVars>
          <dgm:dir/>
          <dgm:resizeHandles val="exact"/>
        </dgm:presLayoutVars>
      </dgm:prSet>
      <dgm:spPr/>
    </dgm:pt>
    <dgm:pt modelId="{A8526AF4-6A45-4417-9EDE-01197DF07097}" type="pres">
      <dgm:prSet presAssocID="{9790053C-DDC7-4293-8883-405BB826B1E3}" presName="node" presStyleLbl="node1" presStyleIdx="0" presStyleCnt="4" custScaleX="146177" custScaleY="308051" custLinFactNeighborX="6736" custLinFactNeighborY="5900">
        <dgm:presLayoutVars>
          <dgm:bulletEnabled val="1"/>
        </dgm:presLayoutVars>
      </dgm:prSet>
      <dgm:spPr/>
    </dgm:pt>
    <dgm:pt modelId="{44DA6D0A-2743-473A-9957-446677FFB851}" type="pres">
      <dgm:prSet presAssocID="{8A2E61B3-A96B-44BC-9E84-892C107D2AD2}" presName="sibTrans" presStyleLbl="sibTrans2D1" presStyleIdx="0" presStyleCnt="3"/>
      <dgm:spPr/>
    </dgm:pt>
    <dgm:pt modelId="{DDCD197C-9637-4B2C-897D-04E154D7931C}" type="pres">
      <dgm:prSet presAssocID="{8A2E61B3-A96B-44BC-9E84-892C107D2AD2}" presName="connectorText" presStyleLbl="sibTrans2D1" presStyleIdx="0" presStyleCnt="3"/>
      <dgm:spPr/>
    </dgm:pt>
    <dgm:pt modelId="{E63E9611-C651-4C9A-8A11-AA9FAB7145C4}" type="pres">
      <dgm:prSet presAssocID="{E737DEF1-06A7-4BA9-BA89-717E90259194}" presName="node" presStyleLbl="node1" presStyleIdx="1" presStyleCnt="4" custScaleX="191902" custScaleY="306714" custLinFactNeighborX="-5448" custLinFactNeighborY="7302">
        <dgm:presLayoutVars>
          <dgm:bulletEnabled val="1"/>
        </dgm:presLayoutVars>
      </dgm:prSet>
      <dgm:spPr/>
    </dgm:pt>
    <dgm:pt modelId="{880D2848-C93B-4A45-9F81-3C6D9894B564}" type="pres">
      <dgm:prSet presAssocID="{1260B51C-5531-43F8-89DE-9C5E63613339}" presName="sibTrans" presStyleLbl="sibTrans2D1" presStyleIdx="1" presStyleCnt="3"/>
      <dgm:spPr/>
    </dgm:pt>
    <dgm:pt modelId="{3FAC32AE-E54F-480F-B7D9-AE836F4B26B9}" type="pres">
      <dgm:prSet presAssocID="{1260B51C-5531-43F8-89DE-9C5E63613339}" presName="connectorText" presStyleLbl="sibTrans2D1" presStyleIdx="1" presStyleCnt="3"/>
      <dgm:spPr/>
    </dgm:pt>
    <dgm:pt modelId="{8CA3994D-02AF-49CA-9CDF-AC5DD344A58C}" type="pres">
      <dgm:prSet presAssocID="{8F726D5F-DA7E-4EEB-8853-BE98A7420B4B}" presName="node" presStyleLbl="node1" presStyleIdx="2" presStyleCnt="4" custScaleX="170259" custScaleY="307759" custLinFactNeighborX="-11733" custLinFactNeighborY="9323">
        <dgm:presLayoutVars>
          <dgm:bulletEnabled val="1"/>
        </dgm:presLayoutVars>
      </dgm:prSet>
      <dgm:spPr/>
    </dgm:pt>
    <dgm:pt modelId="{EC0C7E79-9C8E-43C0-B774-99B68815BB48}" type="pres">
      <dgm:prSet presAssocID="{4BD6592B-470C-4B55-9B1C-1AF67DD82AAD}" presName="sibTrans" presStyleLbl="sibTrans2D1" presStyleIdx="2" presStyleCnt="3"/>
      <dgm:spPr/>
    </dgm:pt>
    <dgm:pt modelId="{73A1981D-8DF8-40D5-8378-FBE443D7756D}" type="pres">
      <dgm:prSet presAssocID="{4BD6592B-470C-4B55-9B1C-1AF67DD82AAD}" presName="connectorText" presStyleLbl="sibTrans2D1" presStyleIdx="2" presStyleCnt="3"/>
      <dgm:spPr/>
    </dgm:pt>
    <dgm:pt modelId="{21BE343A-3045-4C42-A279-D8A18179623F}" type="pres">
      <dgm:prSet presAssocID="{FAEB7FF9-0D82-4257-8185-850085F1ED51}" presName="node" presStyleLbl="node1" presStyleIdx="3" presStyleCnt="4" custScaleX="143781" custScaleY="309572" custLinFactNeighborX="-22646" custLinFactNeighborY="9040">
        <dgm:presLayoutVars>
          <dgm:bulletEnabled val="1"/>
        </dgm:presLayoutVars>
      </dgm:prSet>
      <dgm:spPr/>
    </dgm:pt>
  </dgm:ptLst>
  <dgm:cxnLst>
    <dgm:cxn modelId="{BBC3041A-D18A-479B-B633-4C0520844765}" type="presOf" srcId="{FAEB7FF9-0D82-4257-8185-850085F1ED51}" destId="{21BE343A-3045-4C42-A279-D8A18179623F}" srcOrd="0" destOrd="0" presId="urn:microsoft.com/office/officeart/2005/8/layout/process5"/>
    <dgm:cxn modelId="{4AED571D-7182-4EF5-94BD-462299E965FB}" type="presOf" srcId="{8A2E61B3-A96B-44BC-9E84-892C107D2AD2}" destId="{DDCD197C-9637-4B2C-897D-04E154D7931C}" srcOrd="1" destOrd="0" presId="urn:microsoft.com/office/officeart/2005/8/layout/process5"/>
    <dgm:cxn modelId="{E408AF29-C1A0-4E44-94A6-3151FA0B6404}" type="presOf" srcId="{4BD6592B-470C-4B55-9B1C-1AF67DD82AAD}" destId="{EC0C7E79-9C8E-43C0-B774-99B68815BB48}" srcOrd="0" destOrd="0" presId="urn:microsoft.com/office/officeart/2005/8/layout/process5"/>
    <dgm:cxn modelId="{C7FA5C2F-4C1C-460B-B370-ABA306FD7ADD}" type="presOf" srcId="{E737DEF1-06A7-4BA9-BA89-717E90259194}" destId="{E63E9611-C651-4C9A-8A11-AA9FAB7145C4}" srcOrd="0" destOrd="0" presId="urn:microsoft.com/office/officeart/2005/8/layout/process5"/>
    <dgm:cxn modelId="{6EF1886A-B353-4E14-B7ED-90AC69B3C04E}" type="presOf" srcId="{8F726D5F-DA7E-4EEB-8853-BE98A7420B4B}" destId="{8CA3994D-02AF-49CA-9CDF-AC5DD344A58C}" srcOrd="0" destOrd="0" presId="urn:microsoft.com/office/officeart/2005/8/layout/process5"/>
    <dgm:cxn modelId="{F8CA006B-75D6-4BB9-84C8-4CB141589E38}" type="presOf" srcId="{4BD6592B-470C-4B55-9B1C-1AF67DD82AAD}" destId="{73A1981D-8DF8-40D5-8378-FBE443D7756D}" srcOrd="1" destOrd="0" presId="urn:microsoft.com/office/officeart/2005/8/layout/process5"/>
    <dgm:cxn modelId="{F1AD7B6D-B6A9-45FA-80F1-25535F1FB3A5}" type="presOf" srcId="{D3A4EF6A-06F5-491D-9D36-D066C34DCB86}" destId="{1AAAA105-9430-4B70-973C-8115318A88AE}" srcOrd="0" destOrd="0" presId="urn:microsoft.com/office/officeart/2005/8/layout/process5"/>
    <dgm:cxn modelId="{AD4C8775-322D-4860-9D71-73D6A4E25E5C}" type="presOf" srcId="{8A2E61B3-A96B-44BC-9E84-892C107D2AD2}" destId="{44DA6D0A-2743-473A-9957-446677FFB851}" srcOrd="0" destOrd="0" presId="urn:microsoft.com/office/officeart/2005/8/layout/process5"/>
    <dgm:cxn modelId="{FA65CC7B-D86D-4F67-AB69-06B3135184F8}" type="presOf" srcId="{1260B51C-5531-43F8-89DE-9C5E63613339}" destId="{880D2848-C93B-4A45-9F81-3C6D9894B564}" srcOrd="0" destOrd="0" presId="urn:microsoft.com/office/officeart/2005/8/layout/process5"/>
    <dgm:cxn modelId="{2422D288-1482-4CB9-810A-C900452732EC}" type="presOf" srcId="{9790053C-DDC7-4293-8883-405BB826B1E3}" destId="{A8526AF4-6A45-4417-9EDE-01197DF07097}" srcOrd="0" destOrd="0" presId="urn:microsoft.com/office/officeart/2005/8/layout/process5"/>
    <dgm:cxn modelId="{34349691-A511-44A5-8972-379528233B3A}" type="presOf" srcId="{1260B51C-5531-43F8-89DE-9C5E63613339}" destId="{3FAC32AE-E54F-480F-B7D9-AE836F4B26B9}" srcOrd="1" destOrd="0" presId="urn:microsoft.com/office/officeart/2005/8/layout/process5"/>
    <dgm:cxn modelId="{BA4D73AE-6741-41C3-BE39-716800230DB4}" srcId="{D3A4EF6A-06F5-491D-9D36-D066C34DCB86}" destId="{E737DEF1-06A7-4BA9-BA89-717E90259194}" srcOrd="1" destOrd="0" parTransId="{B1AAA7CC-18E7-4B05-907F-E4E541A6CFA1}" sibTransId="{1260B51C-5531-43F8-89DE-9C5E63613339}"/>
    <dgm:cxn modelId="{E23949B1-9F00-4310-A681-D571792AC768}" srcId="{D3A4EF6A-06F5-491D-9D36-D066C34DCB86}" destId="{FAEB7FF9-0D82-4257-8185-850085F1ED51}" srcOrd="3" destOrd="0" parTransId="{9252CB14-AE39-4B10-83F3-C19D42417955}" sibTransId="{813A4D41-4AB2-4696-92BC-A1614FB9602E}"/>
    <dgm:cxn modelId="{9D7EB8DC-D520-4E30-B7ED-7325EEE68829}" srcId="{D3A4EF6A-06F5-491D-9D36-D066C34DCB86}" destId="{8F726D5F-DA7E-4EEB-8853-BE98A7420B4B}" srcOrd="2" destOrd="0" parTransId="{27E2539C-4342-4E60-A230-503F73540DA5}" sibTransId="{4BD6592B-470C-4B55-9B1C-1AF67DD82AAD}"/>
    <dgm:cxn modelId="{CE1121E2-F60E-4EBA-A944-BB25805CA673}" srcId="{D3A4EF6A-06F5-491D-9D36-D066C34DCB86}" destId="{9790053C-DDC7-4293-8883-405BB826B1E3}" srcOrd="0" destOrd="0" parTransId="{809A3E6C-ED10-49DF-8D04-D3A82ADA887F}" sibTransId="{8A2E61B3-A96B-44BC-9E84-892C107D2AD2}"/>
    <dgm:cxn modelId="{ED8FE83D-965C-482C-BD79-B9215325596C}" type="presParOf" srcId="{1AAAA105-9430-4B70-973C-8115318A88AE}" destId="{A8526AF4-6A45-4417-9EDE-01197DF07097}" srcOrd="0" destOrd="0" presId="urn:microsoft.com/office/officeart/2005/8/layout/process5"/>
    <dgm:cxn modelId="{D3D9D1C5-E911-415C-B780-EA3569549D71}" type="presParOf" srcId="{1AAAA105-9430-4B70-973C-8115318A88AE}" destId="{44DA6D0A-2743-473A-9957-446677FFB851}" srcOrd="1" destOrd="0" presId="urn:microsoft.com/office/officeart/2005/8/layout/process5"/>
    <dgm:cxn modelId="{1C8B7307-53EF-4A2E-8C7F-06E3C81153FA}" type="presParOf" srcId="{44DA6D0A-2743-473A-9957-446677FFB851}" destId="{DDCD197C-9637-4B2C-897D-04E154D7931C}" srcOrd="0" destOrd="0" presId="urn:microsoft.com/office/officeart/2005/8/layout/process5"/>
    <dgm:cxn modelId="{80962A26-AFCD-4109-8E4C-88386DD0D857}" type="presParOf" srcId="{1AAAA105-9430-4B70-973C-8115318A88AE}" destId="{E63E9611-C651-4C9A-8A11-AA9FAB7145C4}" srcOrd="2" destOrd="0" presId="urn:microsoft.com/office/officeart/2005/8/layout/process5"/>
    <dgm:cxn modelId="{838580B8-0FFA-4F02-8C26-4074D954DEC3}" type="presParOf" srcId="{1AAAA105-9430-4B70-973C-8115318A88AE}" destId="{880D2848-C93B-4A45-9F81-3C6D9894B564}" srcOrd="3" destOrd="0" presId="urn:microsoft.com/office/officeart/2005/8/layout/process5"/>
    <dgm:cxn modelId="{55D17EDA-D122-41FA-9567-DDB1EB2D621B}" type="presParOf" srcId="{880D2848-C93B-4A45-9F81-3C6D9894B564}" destId="{3FAC32AE-E54F-480F-B7D9-AE836F4B26B9}" srcOrd="0" destOrd="0" presId="urn:microsoft.com/office/officeart/2005/8/layout/process5"/>
    <dgm:cxn modelId="{A08BDA94-81F6-4E31-81A2-14C7E9B51EB3}" type="presParOf" srcId="{1AAAA105-9430-4B70-973C-8115318A88AE}" destId="{8CA3994D-02AF-49CA-9CDF-AC5DD344A58C}" srcOrd="4" destOrd="0" presId="urn:microsoft.com/office/officeart/2005/8/layout/process5"/>
    <dgm:cxn modelId="{409A9819-210F-4C93-9337-79C2EFF87B15}" type="presParOf" srcId="{1AAAA105-9430-4B70-973C-8115318A88AE}" destId="{EC0C7E79-9C8E-43C0-B774-99B68815BB48}" srcOrd="5" destOrd="0" presId="urn:microsoft.com/office/officeart/2005/8/layout/process5"/>
    <dgm:cxn modelId="{E8793B87-4857-418D-88FD-0D3AE2118E0C}" type="presParOf" srcId="{EC0C7E79-9C8E-43C0-B774-99B68815BB48}" destId="{73A1981D-8DF8-40D5-8378-FBE443D7756D}" srcOrd="0" destOrd="0" presId="urn:microsoft.com/office/officeart/2005/8/layout/process5"/>
    <dgm:cxn modelId="{BEFC5FA7-3693-4E0D-B28C-370530251173}" type="presParOf" srcId="{1AAAA105-9430-4B70-973C-8115318A88AE}" destId="{21BE343A-3045-4C42-A279-D8A18179623F}" srcOrd="6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5EF55A4-4D1A-4EFE-A341-BAB4D8C4F0A4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1181C955-F3F8-4DF0-8ABA-D44083F33225}">
      <dgm:prSet phldrT="[Text]" custT="1"/>
      <dgm:spPr>
        <a:solidFill>
          <a:srgbClr val="0BB1B5"/>
        </a:solidFill>
      </dgm:spPr>
      <dgm:t>
        <a:bodyPr/>
        <a:lstStyle/>
        <a:p>
          <a:r>
            <a:rPr lang="en-GB" sz="1800" b="1"/>
            <a:t>Eniola Onafowokan </a:t>
          </a:r>
          <a:r>
            <a:rPr lang="en-GB" sz="1800"/>
            <a:t>– updates the </a:t>
          </a:r>
          <a:r>
            <a:rPr lang="en-GB" sz="1800" b="1"/>
            <a:t>Translation Spend Tracker</a:t>
          </a:r>
          <a:r>
            <a:rPr lang="en-GB" sz="1800"/>
            <a:t> using the information from the quote </a:t>
          </a:r>
        </a:p>
        <a:p>
          <a:r>
            <a:rPr lang="en-GB" sz="1800">
              <a:hlinkClick xmlns:r="http://schemas.openxmlformats.org/officeDocument/2006/relationships" r:id="rId1"/>
            </a:rPr>
            <a:t>Translation Spend Tracker - AA Global - from Sept. 21 onward.xlsx</a:t>
          </a:r>
          <a:endParaRPr lang="en-GB" sz="1800"/>
        </a:p>
      </dgm:t>
    </dgm:pt>
    <dgm:pt modelId="{27B3A36A-8900-4621-9FD2-7FC92341412E}" type="parTrans" cxnId="{A1FF6016-3504-4FCC-83AA-956AF3AB4966}">
      <dgm:prSet/>
      <dgm:spPr/>
      <dgm:t>
        <a:bodyPr/>
        <a:lstStyle/>
        <a:p>
          <a:endParaRPr lang="en-GB"/>
        </a:p>
      </dgm:t>
    </dgm:pt>
    <dgm:pt modelId="{3EF14C0F-B58E-4E3D-9D60-2D6BDEAA0252}" type="sibTrans" cxnId="{A1FF6016-3504-4FCC-83AA-956AF3AB4966}">
      <dgm:prSet/>
      <dgm:spPr/>
      <dgm:t>
        <a:bodyPr/>
        <a:lstStyle/>
        <a:p>
          <a:endParaRPr lang="en-GB"/>
        </a:p>
      </dgm:t>
    </dgm:pt>
    <dgm:pt modelId="{C9A329D4-AB35-4EE4-A9F4-A9F3ED28634E}">
      <dgm:prSet phldrT="[Text]" custT="1"/>
      <dgm:spPr>
        <a:solidFill>
          <a:srgbClr val="0BB1B5"/>
        </a:solidFill>
      </dgm:spPr>
      <dgm:t>
        <a:bodyPr/>
        <a:lstStyle/>
        <a:p>
          <a:r>
            <a:rPr lang="en-GB" sz="1800" b="1"/>
            <a:t>AA Global </a:t>
          </a:r>
          <a:r>
            <a:rPr lang="en-GB" sz="1800"/>
            <a:t>issue invoice with cost breakdown to </a:t>
          </a:r>
          <a:r>
            <a:rPr lang="en-GB" sz="1800" b="1"/>
            <a:t>Accounts Payable &amp; Design Ops</a:t>
          </a:r>
        </a:p>
        <a:p>
          <a:r>
            <a:rPr lang="en-GB" sz="1800" b="1"/>
            <a:t>Design Ops</a:t>
          </a:r>
          <a:r>
            <a:rPr lang="en-GB" sz="1800"/>
            <a:t>: Updates the </a:t>
          </a:r>
          <a:r>
            <a:rPr lang="en-GB" sz="1800" b="1"/>
            <a:t>Translation Spend Tracker  </a:t>
          </a:r>
          <a:r>
            <a:rPr lang="en-GB" sz="1800"/>
            <a:t>and reconciles the invoice breakdown against the projects </a:t>
          </a:r>
        </a:p>
      </dgm:t>
    </dgm:pt>
    <dgm:pt modelId="{04FD3404-66CF-4962-A0C8-C1C6DBB52D08}" type="parTrans" cxnId="{D99E876C-DA29-485F-A73B-A205C065FDD6}">
      <dgm:prSet/>
      <dgm:spPr/>
      <dgm:t>
        <a:bodyPr/>
        <a:lstStyle/>
        <a:p>
          <a:endParaRPr lang="en-GB"/>
        </a:p>
      </dgm:t>
    </dgm:pt>
    <dgm:pt modelId="{79C0558E-0076-4AE7-A928-0F1C21E4DE83}" type="sibTrans" cxnId="{D99E876C-DA29-485F-A73B-A205C065FDD6}">
      <dgm:prSet/>
      <dgm:spPr/>
      <dgm:t>
        <a:bodyPr/>
        <a:lstStyle/>
        <a:p>
          <a:endParaRPr lang="en-GB"/>
        </a:p>
      </dgm:t>
    </dgm:pt>
    <dgm:pt modelId="{87360DE5-1B11-45CC-BE84-C3C9CDB6D543}">
      <dgm:prSet phldrT="[Text]" custT="1"/>
      <dgm:spPr>
        <a:solidFill>
          <a:srgbClr val="0BB1B5"/>
        </a:solidFill>
      </dgm:spPr>
      <dgm:t>
        <a:bodyPr/>
        <a:lstStyle/>
        <a:p>
          <a:pPr rtl="0"/>
          <a:r>
            <a:rPr lang="en-GB" sz="1800"/>
            <a:t>Design Ops: Raise a receipt in </a:t>
          </a:r>
          <a:r>
            <a:rPr lang="en-GB" sz="1800">
              <a:latin typeface="Calibri Light" panose="020F0302020204030204"/>
            </a:rPr>
            <a:t>MaPS </a:t>
          </a:r>
          <a:endParaRPr lang="en-GB" sz="1800"/>
        </a:p>
        <a:p>
          <a:r>
            <a:rPr lang="en-GB" sz="1800">
              <a:hlinkClick xmlns:r="http://schemas.openxmlformats.org/officeDocument/2006/relationships" r:id="rId2"/>
            </a:rPr>
            <a:t>Procure to pay to guidelines and processes .docx</a:t>
          </a:r>
          <a:endParaRPr lang="en-GB" sz="1800"/>
        </a:p>
      </dgm:t>
    </dgm:pt>
    <dgm:pt modelId="{6421878F-81C5-475D-A7A4-C073CAF3C081}" type="parTrans" cxnId="{86424770-CF57-4C7A-9DF2-EDD8A75EAC14}">
      <dgm:prSet/>
      <dgm:spPr/>
      <dgm:t>
        <a:bodyPr/>
        <a:lstStyle/>
        <a:p>
          <a:endParaRPr lang="en-GB"/>
        </a:p>
      </dgm:t>
    </dgm:pt>
    <dgm:pt modelId="{3FBDC206-A6C8-43FA-8E47-9EBFD5A41320}" type="sibTrans" cxnId="{86424770-CF57-4C7A-9DF2-EDD8A75EAC14}">
      <dgm:prSet/>
      <dgm:spPr/>
      <dgm:t>
        <a:bodyPr/>
        <a:lstStyle/>
        <a:p>
          <a:endParaRPr lang="en-GB"/>
        </a:p>
      </dgm:t>
    </dgm:pt>
    <dgm:pt modelId="{5B6E2849-F995-4CFE-854C-53A6EE85B4E3}" type="pres">
      <dgm:prSet presAssocID="{05EF55A4-4D1A-4EFE-A341-BAB4D8C4F0A4}" presName="Name0" presStyleCnt="0">
        <dgm:presLayoutVars>
          <dgm:dir/>
          <dgm:resizeHandles val="exact"/>
        </dgm:presLayoutVars>
      </dgm:prSet>
      <dgm:spPr/>
    </dgm:pt>
    <dgm:pt modelId="{AA44F224-B0BA-45C4-A183-6A6D5930DE41}" type="pres">
      <dgm:prSet presAssocID="{1181C955-F3F8-4DF0-8ABA-D44083F33225}" presName="node" presStyleLbl="node1" presStyleIdx="0" presStyleCnt="3">
        <dgm:presLayoutVars>
          <dgm:bulletEnabled val="1"/>
        </dgm:presLayoutVars>
      </dgm:prSet>
      <dgm:spPr/>
    </dgm:pt>
    <dgm:pt modelId="{EF928EF5-D35C-4248-81ED-CC3E3ED96C50}" type="pres">
      <dgm:prSet presAssocID="{3EF14C0F-B58E-4E3D-9D60-2D6BDEAA0252}" presName="sibTrans" presStyleLbl="sibTrans2D1" presStyleIdx="0" presStyleCnt="2"/>
      <dgm:spPr/>
    </dgm:pt>
    <dgm:pt modelId="{BABD8067-F8DB-4FC5-8F40-D861E2546D99}" type="pres">
      <dgm:prSet presAssocID="{3EF14C0F-B58E-4E3D-9D60-2D6BDEAA0252}" presName="connectorText" presStyleLbl="sibTrans2D1" presStyleIdx="0" presStyleCnt="2"/>
      <dgm:spPr/>
    </dgm:pt>
    <dgm:pt modelId="{8C8C959E-1FD9-4854-9786-59C75E63DBC9}" type="pres">
      <dgm:prSet presAssocID="{C9A329D4-AB35-4EE4-A9F4-A9F3ED28634E}" presName="node" presStyleLbl="node1" presStyleIdx="1" presStyleCnt="3">
        <dgm:presLayoutVars>
          <dgm:bulletEnabled val="1"/>
        </dgm:presLayoutVars>
      </dgm:prSet>
      <dgm:spPr/>
    </dgm:pt>
    <dgm:pt modelId="{86F37D0D-C2C8-4B74-ABB2-C71B68973FA1}" type="pres">
      <dgm:prSet presAssocID="{79C0558E-0076-4AE7-A928-0F1C21E4DE83}" presName="sibTrans" presStyleLbl="sibTrans2D1" presStyleIdx="1" presStyleCnt="2"/>
      <dgm:spPr/>
    </dgm:pt>
    <dgm:pt modelId="{D2B8AD83-1D2E-4606-85B3-7D4995347343}" type="pres">
      <dgm:prSet presAssocID="{79C0558E-0076-4AE7-A928-0F1C21E4DE83}" presName="connectorText" presStyleLbl="sibTrans2D1" presStyleIdx="1" presStyleCnt="2"/>
      <dgm:spPr/>
    </dgm:pt>
    <dgm:pt modelId="{81EE1CD3-AE6B-4040-9AF6-4409C7910011}" type="pres">
      <dgm:prSet presAssocID="{87360DE5-1B11-45CC-BE84-C3C9CDB6D543}" presName="node" presStyleLbl="node1" presStyleIdx="2" presStyleCnt="3">
        <dgm:presLayoutVars>
          <dgm:bulletEnabled val="1"/>
        </dgm:presLayoutVars>
      </dgm:prSet>
      <dgm:spPr/>
    </dgm:pt>
  </dgm:ptLst>
  <dgm:cxnLst>
    <dgm:cxn modelId="{A1FF6016-3504-4FCC-83AA-956AF3AB4966}" srcId="{05EF55A4-4D1A-4EFE-A341-BAB4D8C4F0A4}" destId="{1181C955-F3F8-4DF0-8ABA-D44083F33225}" srcOrd="0" destOrd="0" parTransId="{27B3A36A-8900-4621-9FD2-7FC92341412E}" sibTransId="{3EF14C0F-B58E-4E3D-9D60-2D6BDEAA0252}"/>
    <dgm:cxn modelId="{BC882425-B4EE-415E-BDD9-1E450C7006E7}" type="presOf" srcId="{C9A329D4-AB35-4EE4-A9F4-A9F3ED28634E}" destId="{8C8C959E-1FD9-4854-9786-59C75E63DBC9}" srcOrd="0" destOrd="0" presId="urn:microsoft.com/office/officeart/2005/8/layout/process1"/>
    <dgm:cxn modelId="{D99E876C-DA29-485F-A73B-A205C065FDD6}" srcId="{05EF55A4-4D1A-4EFE-A341-BAB4D8C4F0A4}" destId="{C9A329D4-AB35-4EE4-A9F4-A9F3ED28634E}" srcOrd="1" destOrd="0" parTransId="{04FD3404-66CF-4962-A0C8-C1C6DBB52D08}" sibTransId="{79C0558E-0076-4AE7-A928-0F1C21E4DE83}"/>
    <dgm:cxn modelId="{86424770-CF57-4C7A-9DF2-EDD8A75EAC14}" srcId="{05EF55A4-4D1A-4EFE-A341-BAB4D8C4F0A4}" destId="{87360DE5-1B11-45CC-BE84-C3C9CDB6D543}" srcOrd="2" destOrd="0" parTransId="{6421878F-81C5-475D-A7A4-C073CAF3C081}" sibTransId="{3FBDC206-A6C8-43FA-8E47-9EBFD5A41320}"/>
    <dgm:cxn modelId="{702674A9-B382-4DA8-833C-9C7E1A53BC36}" type="presOf" srcId="{3EF14C0F-B58E-4E3D-9D60-2D6BDEAA0252}" destId="{EF928EF5-D35C-4248-81ED-CC3E3ED96C50}" srcOrd="0" destOrd="0" presId="urn:microsoft.com/office/officeart/2005/8/layout/process1"/>
    <dgm:cxn modelId="{CDC310B7-5C59-470B-A9FC-FDBFF8D230E2}" type="presOf" srcId="{79C0558E-0076-4AE7-A928-0F1C21E4DE83}" destId="{D2B8AD83-1D2E-4606-85B3-7D4995347343}" srcOrd="1" destOrd="0" presId="urn:microsoft.com/office/officeart/2005/8/layout/process1"/>
    <dgm:cxn modelId="{0DBB3FC6-60E2-442E-9DEC-103E440E4663}" type="presOf" srcId="{1181C955-F3F8-4DF0-8ABA-D44083F33225}" destId="{AA44F224-B0BA-45C4-A183-6A6D5930DE41}" srcOrd="0" destOrd="0" presId="urn:microsoft.com/office/officeart/2005/8/layout/process1"/>
    <dgm:cxn modelId="{FCD2B6CE-EF1F-4A5B-9BDB-EB38913689B8}" type="presOf" srcId="{79C0558E-0076-4AE7-A928-0F1C21E4DE83}" destId="{86F37D0D-C2C8-4B74-ABB2-C71B68973FA1}" srcOrd="0" destOrd="0" presId="urn:microsoft.com/office/officeart/2005/8/layout/process1"/>
    <dgm:cxn modelId="{6F6CEFEB-153C-407B-BBC5-D4D0E0088FA6}" type="presOf" srcId="{3EF14C0F-B58E-4E3D-9D60-2D6BDEAA0252}" destId="{BABD8067-F8DB-4FC5-8F40-D861E2546D99}" srcOrd="1" destOrd="0" presId="urn:microsoft.com/office/officeart/2005/8/layout/process1"/>
    <dgm:cxn modelId="{B00FA9EE-17FE-4482-A794-E557EC8C666F}" type="presOf" srcId="{05EF55A4-4D1A-4EFE-A341-BAB4D8C4F0A4}" destId="{5B6E2849-F995-4CFE-854C-53A6EE85B4E3}" srcOrd="0" destOrd="0" presId="urn:microsoft.com/office/officeart/2005/8/layout/process1"/>
    <dgm:cxn modelId="{0A6778EF-315C-4F73-8821-2BB79191264C}" type="presOf" srcId="{87360DE5-1B11-45CC-BE84-C3C9CDB6D543}" destId="{81EE1CD3-AE6B-4040-9AF6-4409C7910011}" srcOrd="0" destOrd="0" presId="urn:microsoft.com/office/officeart/2005/8/layout/process1"/>
    <dgm:cxn modelId="{6151CE69-CDCA-4AAB-9789-BA306234D70A}" type="presParOf" srcId="{5B6E2849-F995-4CFE-854C-53A6EE85B4E3}" destId="{AA44F224-B0BA-45C4-A183-6A6D5930DE41}" srcOrd="0" destOrd="0" presId="urn:microsoft.com/office/officeart/2005/8/layout/process1"/>
    <dgm:cxn modelId="{60FBD80F-F728-4914-A658-B2087891A271}" type="presParOf" srcId="{5B6E2849-F995-4CFE-854C-53A6EE85B4E3}" destId="{EF928EF5-D35C-4248-81ED-CC3E3ED96C50}" srcOrd="1" destOrd="0" presId="urn:microsoft.com/office/officeart/2005/8/layout/process1"/>
    <dgm:cxn modelId="{5A231BEB-FA3C-4EE5-9D6F-A85843C36708}" type="presParOf" srcId="{EF928EF5-D35C-4248-81ED-CC3E3ED96C50}" destId="{BABD8067-F8DB-4FC5-8F40-D861E2546D99}" srcOrd="0" destOrd="0" presId="urn:microsoft.com/office/officeart/2005/8/layout/process1"/>
    <dgm:cxn modelId="{81248CEA-E86A-4537-8674-6939AD5264A7}" type="presParOf" srcId="{5B6E2849-F995-4CFE-854C-53A6EE85B4E3}" destId="{8C8C959E-1FD9-4854-9786-59C75E63DBC9}" srcOrd="2" destOrd="0" presId="urn:microsoft.com/office/officeart/2005/8/layout/process1"/>
    <dgm:cxn modelId="{C7FF99E3-68DD-42E6-BB36-B2E78EA35E23}" type="presParOf" srcId="{5B6E2849-F995-4CFE-854C-53A6EE85B4E3}" destId="{86F37D0D-C2C8-4B74-ABB2-C71B68973FA1}" srcOrd="3" destOrd="0" presId="urn:microsoft.com/office/officeart/2005/8/layout/process1"/>
    <dgm:cxn modelId="{A280A284-151F-43A4-BB79-13291D80F3F8}" type="presParOf" srcId="{86F37D0D-C2C8-4B74-ABB2-C71B68973FA1}" destId="{D2B8AD83-1D2E-4606-85B3-7D4995347343}" srcOrd="0" destOrd="0" presId="urn:microsoft.com/office/officeart/2005/8/layout/process1"/>
    <dgm:cxn modelId="{A6C65109-547D-41D9-BB4D-3C926665360C}" type="presParOf" srcId="{5B6E2849-F995-4CFE-854C-53A6EE85B4E3}" destId="{81EE1CD3-AE6B-4040-9AF6-4409C7910011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526AF4-6A45-4417-9EDE-01197DF07097}">
      <dsp:nvSpPr>
        <dsp:cNvPr id="0" name=""/>
        <dsp:cNvSpPr/>
      </dsp:nvSpPr>
      <dsp:spPr>
        <a:xfrm>
          <a:off x="109063" y="1148007"/>
          <a:ext cx="2248104" cy="2842570"/>
        </a:xfrm>
        <a:prstGeom prst="roundRect">
          <a:avLst>
            <a:gd name="adj" fmla="val 10000"/>
          </a:avLst>
        </a:prstGeom>
        <a:solidFill>
          <a:srgbClr val="0BB1B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/>
            <a:t>Complete request form outlining translation requirements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>
              <a:hlinkClick xmlns:r="http://schemas.openxmlformats.org/officeDocument/2006/relationships" r:id="rId1"/>
            </a:rPr>
            <a:t>AA Global Service Request Form.xlsx</a:t>
          </a:r>
          <a:r>
            <a:rPr lang="en-GB" sz="1800" kern="1200"/>
            <a:t>  </a:t>
          </a:r>
        </a:p>
      </dsp:txBody>
      <dsp:txXfrm>
        <a:off x="174908" y="1213852"/>
        <a:ext cx="2116414" cy="2710880"/>
      </dsp:txXfrm>
    </dsp:sp>
    <dsp:sp modelId="{44DA6D0A-2743-473A-9957-446677FFB851}">
      <dsp:nvSpPr>
        <dsp:cNvPr id="0" name=""/>
        <dsp:cNvSpPr/>
      </dsp:nvSpPr>
      <dsp:spPr>
        <a:xfrm rot="14690">
          <a:off x="2451281" y="2384278"/>
          <a:ext cx="226731" cy="3814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600" kern="1200"/>
        </a:p>
      </dsp:txBody>
      <dsp:txXfrm>
        <a:off x="2451281" y="2460414"/>
        <a:ext cx="158712" cy="228845"/>
      </dsp:txXfrm>
    </dsp:sp>
    <dsp:sp modelId="{E63E9611-C651-4C9A-8A11-AA9FAB7145C4}">
      <dsp:nvSpPr>
        <dsp:cNvPr id="0" name=""/>
        <dsp:cNvSpPr/>
      </dsp:nvSpPr>
      <dsp:spPr>
        <a:xfrm>
          <a:off x="2784959" y="1167112"/>
          <a:ext cx="2951323" cy="2830233"/>
        </a:xfrm>
        <a:prstGeom prst="roundRect">
          <a:avLst>
            <a:gd name="adj" fmla="val 10000"/>
          </a:avLst>
        </a:prstGeom>
        <a:solidFill>
          <a:srgbClr val="0BB1B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/>
            <a:t>Email translation request form to: Yulia Pavlova (AA Global Translation Services) </a:t>
          </a:r>
          <a:r>
            <a:rPr lang="en-GB" sz="1800" u="sng" kern="1200">
              <a:solidFill>
                <a:srgbClr val="0070C0"/>
              </a:solidFill>
            </a:rPr>
            <a:t>Yulia@aaglobal.co.uk</a:t>
          </a:r>
          <a:r>
            <a:rPr lang="en-GB" sz="1800" u="sng" kern="1200">
              <a:solidFill>
                <a:srgbClr val="0070C0"/>
              </a:solidFill>
              <a:latin typeface="Calibri Light" panose="020F0302020204030204"/>
            </a:rPr>
            <a:t> </a:t>
          </a:r>
          <a:r>
            <a:rPr lang="en-GB" sz="1800" kern="1200">
              <a:latin typeface="Calibri Light" panose="020F0302020204030204"/>
            </a:rPr>
            <a:t> &amp; </a:t>
          </a:r>
          <a:r>
            <a:rPr lang="en-GB" sz="1800" kern="1200">
              <a:latin typeface="Calibri Light" panose="020F0302020204030204"/>
              <a:hlinkClick xmlns:r="http://schemas.openxmlformats.org/officeDocument/2006/relationships" r:id="rId2"/>
            </a:rPr>
            <a:t>translations@aaglobal.co.uk</a:t>
          </a:r>
          <a:r>
            <a:rPr lang="en-GB" sz="1800" kern="1200">
              <a:latin typeface="Calibri Light" panose="020F0302020204030204"/>
            </a:rPr>
            <a:t>                 Copy in</a:t>
          </a:r>
          <a:r>
            <a:rPr lang="en-GB" sz="1800" kern="1200"/>
            <a:t>:</a:t>
          </a:r>
          <a:r>
            <a:rPr lang="en-GB" sz="1800" kern="1200">
              <a:latin typeface="Calibri Light" panose="020F0302020204030204"/>
            </a:rPr>
            <a:t>                      </a:t>
          </a:r>
          <a:r>
            <a:rPr lang="en-GB" sz="1800" kern="1200">
              <a:latin typeface="Calibri Light" panose="020F0302020204030204"/>
              <a:hlinkClick xmlns:r="http://schemas.openxmlformats.org/officeDocument/2006/relationships" r:id="rId3"/>
            </a:rPr>
            <a:t>eniola</a:t>
          </a:r>
          <a:r>
            <a:rPr lang="en-GB" sz="1800" kern="1200">
              <a:hlinkClick xmlns:r="http://schemas.openxmlformats.org/officeDocument/2006/relationships" r:id="rId3"/>
            </a:rPr>
            <a:t>.Onafowokan@ukhsa.gov.uk</a:t>
          </a:r>
          <a:r>
            <a:rPr lang="en-GB" sz="1800" kern="1200">
              <a:latin typeface="Calibri Light" panose="020F0302020204030204"/>
            </a:rPr>
            <a:t> </a:t>
          </a:r>
          <a:r>
            <a:rPr lang="en-GB" sz="1800" kern="1200"/>
            <a:t> &amp; </a:t>
          </a:r>
          <a:r>
            <a:rPr lang="en-GB" sz="1800" kern="1200">
              <a:hlinkClick xmlns:r="http://schemas.openxmlformats.org/officeDocument/2006/relationships" r:id="rId4"/>
            </a:rPr>
            <a:t>designops@ukhsa.gov.uk</a:t>
          </a:r>
          <a:r>
            <a:rPr lang="en-GB" sz="1800" kern="1200">
              <a:latin typeface="Calibri Light" panose="020F0302020204030204"/>
            </a:rPr>
            <a:t> </a:t>
          </a:r>
          <a:endParaRPr lang="en-GB" sz="1800" kern="1200">
            <a:latin typeface="Calibri Light" panose="020F0302020204030204"/>
            <a:hlinkClick xmlns:r="http://schemas.openxmlformats.org/officeDocument/2006/relationships" r:id="rId2"/>
          </a:endParaRPr>
        </a:p>
      </dsp:txBody>
      <dsp:txXfrm>
        <a:off x="2867854" y="1250007"/>
        <a:ext cx="2785533" cy="2664443"/>
      </dsp:txXfrm>
    </dsp:sp>
    <dsp:sp modelId="{880D2848-C93B-4A45-9F81-3C6D9894B564}">
      <dsp:nvSpPr>
        <dsp:cNvPr id="0" name=""/>
        <dsp:cNvSpPr/>
      </dsp:nvSpPr>
      <dsp:spPr>
        <a:xfrm rot="19407">
          <a:off x="5850354" y="2401276"/>
          <a:ext cx="274816" cy="3814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600" kern="1200"/>
        </a:p>
      </dsp:txBody>
      <dsp:txXfrm>
        <a:off x="5850355" y="2477324"/>
        <a:ext cx="192371" cy="228845"/>
      </dsp:txXfrm>
    </dsp:sp>
    <dsp:sp modelId="{8CA3994D-02AF-49CA-9CDF-AC5DD344A58C}">
      <dsp:nvSpPr>
        <dsp:cNvPr id="0" name=""/>
        <dsp:cNvSpPr/>
      </dsp:nvSpPr>
      <dsp:spPr>
        <a:xfrm>
          <a:off x="6254797" y="1180940"/>
          <a:ext cx="2618469" cy="2839875"/>
        </a:xfrm>
        <a:prstGeom prst="roundRect">
          <a:avLst>
            <a:gd name="adj" fmla="val 10000"/>
          </a:avLst>
        </a:prstGeom>
        <a:solidFill>
          <a:srgbClr val="0BB1B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/>
            <a:t>AA Global responds with acknowledgement, quote</a:t>
          </a:r>
          <a:r>
            <a:rPr lang="en-GB" sz="1800" kern="1200">
              <a:latin typeface="Calibri Light" panose="020F0302020204030204"/>
            </a:rPr>
            <a:t>*</a:t>
          </a:r>
          <a:r>
            <a:rPr lang="en-GB" sz="1800" kern="1200"/>
            <a:t> and delivery date. If required, an email/teams discussion can be set up to discuss finer points of</a:t>
          </a:r>
          <a:r>
            <a:rPr lang="en-GB" sz="1800" kern="1200">
              <a:latin typeface="Calibri Light" panose="020F0302020204030204"/>
            </a:rPr>
            <a:t> the</a:t>
          </a:r>
          <a:r>
            <a:rPr lang="en-GB" sz="1800" kern="1200"/>
            <a:t> translation</a:t>
          </a:r>
          <a:r>
            <a:rPr lang="en-GB" sz="1800" kern="1200">
              <a:latin typeface="Calibri Light" panose="020F0302020204030204"/>
            </a:rPr>
            <a:t>  </a:t>
          </a:r>
          <a:endParaRPr lang="en-GB" sz="1800" kern="1200"/>
        </a:p>
      </dsp:txBody>
      <dsp:txXfrm>
        <a:off x="6331489" y="1257632"/>
        <a:ext cx="2465085" cy="2686491"/>
      </dsp:txXfrm>
    </dsp:sp>
    <dsp:sp modelId="{EC0C7E79-9C8E-43C0-B774-99B68815BB48}">
      <dsp:nvSpPr>
        <dsp:cNvPr id="0" name=""/>
        <dsp:cNvSpPr/>
      </dsp:nvSpPr>
      <dsp:spPr>
        <a:xfrm rot="21596863">
          <a:off x="8971680" y="2408782"/>
          <a:ext cx="237089" cy="3814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600" kern="1200"/>
        </a:p>
      </dsp:txBody>
      <dsp:txXfrm>
        <a:off x="8971680" y="2485095"/>
        <a:ext cx="165962" cy="228845"/>
      </dsp:txXfrm>
    </dsp:sp>
    <dsp:sp modelId="{21BE343A-3045-4C42-A279-D8A18179623F}">
      <dsp:nvSpPr>
        <dsp:cNvPr id="0" name=""/>
        <dsp:cNvSpPr/>
      </dsp:nvSpPr>
      <dsp:spPr>
        <a:xfrm>
          <a:off x="9320604" y="1169964"/>
          <a:ext cx="2211255" cy="2856605"/>
        </a:xfrm>
        <a:prstGeom prst="roundRect">
          <a:avLst>
            <a:gd name="adj" fmla="val 10000"/>
          </a:avLst>
        </a:prstGeom>
        <a:solidFill>
          <a:srgbClr val="0BB1B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/>
            <a:t>Translation delivered to requester </a:t>
          </a:r>
        </a:p>
      </dsp:txBody>
      <dsp:txXfrm>
        <a:off x="9385369" y="1234729"/>
        <a:ext cx="2081725" cy="272707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44F224-B0BA-45C4-A183-6A6D5930DE41}">
      <dsp:nvSpPr>
        <dsp:cNvPr id="0" name=""/>
        <dsp:cNvSpPr/>
      </dsp:nvSpPr>
      <dsp:spPr>
        <a:xfrm>
          <a:off x="9776" y="954884"/>
          <a:ext cx="2922120" cy="2441569"/>
        </a:xfrm>
        <a:prstGeom prst="roundRect">
          <a:avLst>
            <a:gd name="adj" fmla="val 10000"/>
          </a:avLst>
        </a:prstGeom>
        <a:solidFill>
          <a:srgbClr val="0BB1B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/>
            <a:t>Eniola Onafowokan </a:t>
          </a:r>
          <a:r>
            <a:rPr lang="en-GB" sz="1800" kern="1200"/>
            <a:t>– updates the </a:t>
          </a:r>
          <a:r>
            <a:rPr lang="en-GB" sz="1800" b="1" kern="1200"/>
            <a:t>Translation Spend Tracker</a:t>
          </a:r>
          <a:r>
            <a:rPr lang="en-GB" sz="1800" kern="1200"/>
            <a:t> using the information from the quote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>
              <a:hlinkClick xmlns:r="http://schemas.openxmlformats.org/officeDocument/2006/relationships" r:id="rId1"/>
            </a:rPr>
            <a:t>Translation Spend Tracker - AA Global - from Sept. 21 onward.xlsx</a:t>
          </a:r>
          <a:endParaRPr lang="en-GB" sz="1800" kern="1200"/>
        </a:p>
      </dsp:txBody>
      <dsp:txXfrm>
        <a:off x="81287" y="1026395"/>
        <a:ext cx="2779098" cy="2298547"/>
      </dsp:txXfrm>
    </dsp:sp>
    <dsp:sp modelId="{EF928EF5-D35C-4248-81ED-CC3E3ED96C50}">
      <dsp:nvSpPr>
        <dsp:cNvPr id="0" name=""/>
        <dsp:cNvSpPr/>
      </dsp:nvSpPr>
      <dsp:spPr>
        <a:xfrm>
          <a:off x="3224109" y="1813325"/>
          <a:ext cx="619489" cy="72468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3100" kern="1200"/>
        </a:p>
      </dsp:txBody>
      <dsp:txXfrm>
        <a:off x="3224109" y="1958262"/>
        <a:ext cx="433642" cy="434812"/>
      </dsp:txXfrm>
    </dsp:sp>
    <dsp:sp modelId="{8C8C959E-1FD9-4854-9786-59C75E63DBC9}">
      <dsp:nvSpPr>
        <dsp:cNvPr id="0" name=""/>
        <dsp:cNvSpPr/>
      </dsp:nvSpPr>
      <dsp:spPr>
        <a:xfrm>
          <a:off x="4100746" y="954884"/>
          <a:ext cx="2922120" cy="2441569"/>
        </a:xfrm>
        <a:prstGeom prst="roundRect">
          <a:avLst>
            <a:gd name="adj" fmla="val 10000"/>
          </a:avLst>
        </a:prstGeom>
        <a:solidFill>
          <a:srgbClr val="0BB1B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/>
            <a:t>AA Global </a:t>
          </a:r>
          <a:r>
            <a:rPr lang="en-GB" sz="1800" kern="1200"/>
            <a:t>issue invoice with cost breakdown to </a:t>
          </a:r>
          <a:r>
            <a:rPr lang="en-GB" sz="1800" b="1" kern="1200"/>
            <a:t>Accounts Payable &amp; Design Ops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/>
            <a:t>Design Ops</a:t>
          </a:r>
          <a:r>
            <a:rPr lang="en-GB" sz="1800" kern="1200"/>
            <a:t>: Updates the </a:t>
          </a:r>
          <a:r>
            <a:rPr lang="en-GB" sz="1800" b="1" kern="1200"/>
            <a:t>Translation Spend Tracker  </a:t>
          </a:r>
          <a:r>
            <a:rPr lang="en-GB" sz="1800" kern="1200"/>
            <a:t>and reconciles the invoice breakdown against the projects </a:t>
          </a:r>
        </a:p>
      </dsp:txBody>
      <dsp:txXfrm>
        <a:off x="4172257" y="1026395"/>
        <a:ext cx="2779098" cy="2298547"/>
      </dsp:txXfrm>
    </dsp:sp>
    <dsp:sp modelId="{86F37D0D-C2C8-4B74-ABB2-C71B68973FA1}">
      <dsp:nvSpPr>
        <dsp:cNvPr id="0" name=""/>
        <dsp:cNvSpPr/>
      </dsp:nvSpPr>
      <dsp:spPr>
        <a:xfrm>
          <a:off x="7315079" y="1813325"/>
          <a:ext cx="619489" cy="72468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3100" kern="1200"/>
        </a:p>
      </dsp:txBody>
      <dsp:txXfrm>
        <a:off x="7315079" y="1958262"/>
        <a:ext cx="433642" cy="434812"/>
      </dsp:txXfrm>
    </dsp:sp>
    <dsp:sp modelId="{81EE1CD3-AE6B-4040-9AF6-4409C7910011}">
      <dsp:nvSpPr>
        <dsp:cNvPr id="0" name=""/>
        <dsp:cNvSpPr/>
      </dsp:nvSpPr>
      <dsp:spPr>
        <a:xfrm>
          <a:off x="8191715" y="954884"/>
          <a:ext cx="2922120" cy="2441569"/>
        </a:xfrm>
        <a:prstGeom prst="roundRect">
          <a:avLst>
            <a:gd name="adj" fmla="val 10000"/>
          </a:avLst>
        </a:prstGeom>
        <a:solidFill>
          <a:srgbClr val="0BB1B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/>
            <a:t>Design Ops: Raise a receipt in </a:t>
          </a:r>
          <a:r>
            <a:rPr lang="en-GB" sz="1800" kern="1200">
              <a:latin typeface="Calibri Light" panose="020F0302020204030204"/>
            </a:rPr>
            <a:t>MaPS </a:t>
          </a:r>
          <a:endParaRPr lang="en-GB" sz="1800" kern="1200"/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>
              <a:hlinkClick xmlns:r="http://schemas.openxmlformats.org/officeDocument/2006/relationships" r:id="rId2"/>
            </a:rPr>
            <a:t>Procure to pay to guidelines and processes .docx</a:t>
          </a:r>
          <a:endParaRPr lang="en-GB" sz="1800" kern="1200"/>
        </a:p>
      </dsp:txBody>
      <dsp:txXfrm>
        <a:off x="8263226" y="1026395"/>
        <a:ext cx="2779098" cy="229854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8FB1F9-5633-4578-AC1D-295845D7D8CB}" type="datetimeFigureOut">
              <a:rPr lang="en-GB" smtClean="0"/>
              <a:t>06/11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89B7DD-A56B-4C7B-937F-F3F721C4557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64611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45.xml"/><Relationship Id="rId7" Type="http://schemas.openxmlformats.org/officeDocument/2006/relationships/oleObject" Target="../embeddings/oleObject6.bin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7.xml"/><Relationship Id="rId4" Type="http://schemas.openxmlformats.org/officeDocument/2006/relationships/tags" Target="../tags/tag46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5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9" Type="http://schemas.openxmlformats.org/officeDocument/2006/relationships/image" Target="../media/image5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image" Target="../media/image4.pn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image" Target="../media/image3.emf"/><Relationship Id="rId5" Type="http://schemas.openxmlformats.org/officeDocument/2006/relationships/tags" Target="../tags/tag58.xml"/><Relationship Id="rId10" Type="http://schemas.openxmlformats.org/officeDocument/2006/relationships/oleObject" Target="../embeddings/oleObject8.bin"/><Relationship Id="rId4" Type="http://schemas.openxmlformats.org/officeDocument/2006/relationships/tags" Target="../tags/tag57.xml"/><Relationship Id="rId9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image" Target="../media/image4.png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image" Target="../media/image3.emf"/><Relationship Id="rId5" Type="http://schemas.openxmlformats.org/officeDocument/2006/relationships/tags" Target="../tags/tag66.xml"/><Relationship Id="rId10" Type="http://schemas.openxmlformats.org/officeDocument/2006/relationships/oleObject" Target="../embeddings/oleObject9.bin"/><Relationship Id="rId4" Type="http://schemas.openxmlformats.org/officeDocument/2006/relationships/tags" Target="../tags/tag65.xml"/><Relationship Id="rId9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12" Type="http://schemas.openxmlformats.org/officeDocument/2006/relationships/image" Target="../media/image4.png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11" Type="http://schemas.openxmlformats.org/officeDocument/2006/relationships/image" Target="../media/image3.emf"/><Relationship Id="rId5" Type="http://schemas.openxmlformats.org/officeDocument/2006/relationships/tags" Target="../tags/tag74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3.xml"/><Relationship Id="rId9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image" Target="../media/image4.png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image" Target="../media/image7.emf"/><Relationship Id="rId5" Type="http://schemas.openxmlformats.org/officeDocument/2006/relationships/tags" Target="../tags/tag82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81.xml"/><Relationship Id="rId9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image" Target="../media/image4.png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image" Target="../media/image3.emf"/><Relationship Id="rId5" Type="http://schemas.openxmlformats.org/officeDocument/2006/relationships/tags" Target="../tags/tag90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89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9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10" Type="http://schemas.openxmlformats.org/officeDocument/2006/relationships/image" Target="../media/image4.png"/><Relationship Id="rId4" Type="http://schemas.openxmlformats.org/officeDocument/2006/relationships/tags" Target="../tags/tag97.xml"/><Relationship Id="rId9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2.xml"/><Relationship Id="rId7" Type="http://schemas.openxmlformats.org/officeDocument/2006/relationships/image" Target="../media/image5.emf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6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4.png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0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1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3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4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4.xml"/><Relationship Id="rId7" Type="http://schemas.openxmlformats.org/officeDocument/2006/relationships/oleObject" Target="../embeddings/oleObject2.bin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5.xml"/><Relationship Id="rId7" Type="http://schemas.openxmlformats.org/officeDocument/2006/relationships/oleObject" Target="../embeddings/oleObject4.bin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40.xml"/><Relationship Id="rId7" Type="http://schemas.openxmlformats.org/officeDocument/2006/relationships/oleObject" Target="../embeddings/oleObject5.bin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2.xml"/><Relationship Id="rId4" Type="http://schemas.openxmlformats.org/officeDocument/2006/relationships/tags" Target="../tags/tag4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C420D6-CED8-4F62-AA93-FCC34ADFC5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2955" y="2528658"/>
            <a:ext cx="10481617" cy="2387600"/>
          </a:xfrm>
        </p:spPr>
        <p:txBody>
          <a:bodyPr anchor="t"/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79429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382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3473791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5511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7726560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1946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98B01D-525E-43F2-B8DC-508C87DB53D6}"/>
              </a:ext>
            </a:extLst>
          </p:cNvPr>
          <p:cNvSpPr txBox="1"/>
          <p:nvPr userDrawn="1"/>
        </p:nvSpPr>
        <p:spPr>
          <a:xfrm>
            <a:off x="554736" y="6620765"/>
            <a:ext cx="261407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>
              <a:defRPr lang="en-US"/>
            </a:defPPr>
            <a:lvl1pPr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t>OFFIC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5727E32-2A71-41AC-AF63-B0F606199927}"/>
              </a:ext>
            </a:extLst>
          </p:cNvPr>
          <p:cNvSpPr txBox="1"/>
          <p:nvPr userDrawn="1"/>
        </p:nvSpPr>
        <p:spPr>
          <a:xfrm>
            <a:off x="5305720" y="6620765"/>
            <a:ext cx="1580561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b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en-GB" noProof="0">
                <a:sym typeface="+mn-lt"/>
              </a:rPr>
              <a:t>INTERNAL USE ONLY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A9B43FA8-4AF5-4D5B-9A27-D69A541FEF86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81499" y="6620765"/>
            <a:ext cx="18755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b" anchorCtr="0">
            <a:sp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</a:pPr>
            <a:fld id="{4ABDCABE-3F10-B64C-92F1-862014417034}" type="slidenum">
              <a:rPr kumimoji="0" lang="en-US" sz="1200" b="0" i="0" u="none" strike="noStrike" kern="0" cap="none" spc="0" normalizeH="0" baseline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cs typeface="Arial"/>
              </a:rPr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88888"/>
                </a:buClr>
                <a:buSzPts val="1200"/>
                <a:buFont typeface="Arial"/>
                <a:buNone/>
                <a:tabLst/>
              </a:pPr>
              <a:t>‹#›</a:t>
            </a:fld>
            <a:endParaRPr kumimoji="0" lang="en-US" sz="1200" b="0" i="0" u="none" strike="noStrike" kern="0" cap="none" spc="0" normalizeH="0" baseline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FD2F9451-3AF5-4A14-8ACA-647F0DA6D7B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87182" y="208854"/>
            <a:ext cx="1052245" cy="413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50052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4641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679907-BD85-4F90-B58F-80EDC3B104D1}"/>
              </a:ext>
            </a:extLst>
          </p:cNvPr>
          <p:cNvSpPr txBox="1"/>
          <p:nvPr userDrawn="1"/>
        </p:nvSpPr>
        <p:spPr>
          <a:xfrm>
            <a:off x="554736" y="6620765"/>
            <a:ext cx="261407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>
              <a:defRPr lang="en-US"/>
            </a:defPPr>
            <a:lvl1pPr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t>OFFIC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BDD641B-03FA-4A96-8D45-B8B6C28CAC35}"/>
              </a:ext>
            </a:extLst>
          </p:cNvPr>
          <p:cNvSpPr txBox="1"/>
          <p:nvPr userDrawn="1"/>
        </p:nvSpPr>
        <p:spPr>
          <a:xfrm>
            <a:off x="5305720" y="6620765"/>
            <a:ext cx="1580561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b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en-GB" noProof="0">
                <a:sym typeface="+mn-lt"/>
              </a:rPr>
              <a:t>INTERNAL USE ONLY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6511C958-3765-4468-BA2C-EBD3D369753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81499" y="6620765"/>
            <a:ext cx="18755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b" anchorCtr="0">
            <a:sp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</a:pPr>
            <a:fld id="{4ABDCABE-3F10-B64C-92F1-862014417034}" type="slidenum">
              <a:rPr kumimoji="0" lang="en-US" sz="1200" b="0" i="0" u="none" strike="noStrike" kern="0" cap="none" spc="0" normalizeH="0" baseline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cs typeface="Arial"/>
              </a:rPr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88888"/>
                </a:buClr>
                <a:buSzPts val="1200"/>
                <a:buFont typeface="Arial"/>
                <a:buNone/>
                <a:tabLst/>
              </a:pPr>
              <a:t>‹#›</a:t>
            </a:fld>
            <a:endParaRPr kumimoji="0" lang="en-US" sz="1200" b="0" i="0" u="none" strike="noStrike" kern="0" cap="none" spc="0" normalizeH="0" baseline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20A6178D-3DA0-4B1B-A3B4-4485E3BC9A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87182" y="208854"/>
            <a:ext cx="1052245" cy="413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96483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898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19011"/>
            <a:ext cx="5065776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58003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5E2CCE-2DAC-4355-83EB-6F38B6D6D877}"/>
              </a:ext>
            </a:extLst>
          </p:cNvPr>
          <p:cNvSpPr txBox="1"/>
          <p:nvPr userDrawn="1"/>
        </p:nvSpPr>
        <p:spPr>
          <a:xfrm>
            <a:off x="554736" y="6620765"/>
            <a:ext cx="261407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>
              <a:defRPr lang="en-US"/>
            </a:defPPr>
            <a:lvl1pPr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t>OFFIC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251A9BB-ED31-4F0B-909F-0780970F75CE}"/>
              </a:ext>
            </a:extLst>
          </p:cNvPr>
          <p:cNvSpPr txBox="1"/>
          <p:nvPr userDrawn="1"/>
        </p:nvSpPr>
        <p:spPr>
          <a:xfrm>
            <a:off x="5305720" y="6620765"/>
            <a:ext cx="1580561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b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en-GB" noProof="0">
                <a:sym typeface="+mn-lt"/>
              </a:rPr>
              <a:t>INTERNAL USE ONLY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70055706-4EC8-4022-BCF0-E046B09A2AD3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81499" y="6620765"/>
            <a:ext cx="18755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b" anchorCtr="0">
            <a:sp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</a:pPr>
            <a:fld id="{4ABDCABE-3F10-B64C-92F1-862014417034}" type="slidenum">
              <a:rPr kumimoji="0" lang="en-US" sz="1200" b="0" i="0" u="none" strike="noStrike" kern="0" cap="none" spc="0" normalizeH="0" baseline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cs typeface="Arial"/>
              </a:rPr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88888"/>
                </a:buClr>
                <a:buSzPts val="1200"/>
                <a:buFont typeface="Arial"/>
                <a:buNone/>
                <a:tabLst/>
              </a:pPr>
              <a:t>‹#›</a:t>
            </a:fld>
            <a:endParaRPr kumimoji="0" lang="en-US" sz="1200" b="0" i="0" u="none" strike="noStrike" kern="0" cap="none" spc="0" normalizeH="0" baseline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D6E7659C-4CC0-40C0-BB26-36D1996AA79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87182" y="208854"/>
            <a:ext cx="1052245" cy="413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990911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7740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6967728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58003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6B85ADB-637C-466E-AC49-06F92D5D338E}"/>
              </a:ext>
            </a:extLst>
          </p:cNvPr>
          <p:cNvSpPr txBox="1"/>
          <p:nvPr userDrawn="1"/>
        </p:nvSpPr>
        <p:spPr>
          <a:xfrm>
            <a:off x="554736" y="6620765"/>
            <a:ext cx="261407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>
              <a:defRPr lang="en-US"/>
            </a:defPPr>
            <a:lvl1pPr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t>OFFIC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0A1F20-F235-4741-B1C2-253F0F027518}"/>
              </a:ext>
            </a:extLst>
          </p:cNvPr>
          <p:cNvSpPr txBox="1"/>
          <p:nvPr userDrawn="1"/>
        </p:nvSpPr>
        <p:spPr>
          <a:xfrm>
            <a:off x="5305720" y="6620765"/>
            <a:ext cx="1580561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b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en-GB" noProof="0">
                <a:sym typeface="+mn-lt"/>
              </a:rPr>
              <a:t>INTERNAL USE ONLY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D1F2AFC2-593D-4083-A958-750D9F390F6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81499" y="6620765"/>
            <a:ext cx="18755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b" anchorCtr="0">
            <a:sp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</a:pPr>
            <a:fld id="{4ABDCABE-3F10-B64C-92F1-862014417034}" type="slidenum">
              <a:rPr kumimoji="0" lang="en-US" sz="1200" b="0" i="0" u="none" strike="noStrike" kern="0" cap="none" spc="0" normalizeH="0" baseline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cs typeface="Arial"/>
              </a:rPr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88888"/>
                </a:buClr>
                <a:buSzPts val="1200"/>
                <a:buFont typeface="Arial"/>
                <a:buNone/>
                <a:tabLst/>
              </a:pPr>
              <a:t>‹#›</a:t>
            </a:fld>
            <a:endParaRPr kumimoji="0" lang="en-US" sz="1200" b="0" i="0" u="none" strike="noStrike" kern="0" cap="none" spc="0" normalizeH="0" baseline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FDBF9EA7-43E1-4BA8-BCB1-ECE29CB15B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87182" y="208854"/>
            <a:ext cx="1052245" cy="413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284340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6493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19011"/>
            <a:ext cx="7918704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58003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155315E-8F58-4E84-B53B-1C80A4DD1E3A}"/>
              </a:ext>
            </a:extLst>
          </p:cNvPr>
          <p:cNvSpPr txBox="1"/>
          <p:nvPr userDrawn="1"/>
        </p:nvSpPr>
        <p:spPr>
          <a:xfrm>
            <a:off x="554736" y="6620765"/>
            <a:ext cx="261407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>
              <a:defRPr lang="en-US"/>
            </a:defPPr>
            <a:lvl1pPr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t>OFFIC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FEEA7C2-F0AA-4606-8052-2D53B961E6AB}"/>
              </a:ext>
            </a:extLst>
          </p:cNvPr>
          <p:cNvSpPr txBox="1"/>
          <p:nvPr userDrawn="1"/>
        </p:nvSpPr>
        <p:spPr>
          <a:xfrm>
            <a:off x="5305720" y="6620765"/>
            <a:ext cx="1580561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b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en-GB" noProof="0">
                <a:sym typeface="+mn-lt"/>
              </a:rPr>
              <a:t>INTERNAL USE ONLY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4A7AD466-5FC5-4395-8B89-4E744DD3087F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81499" y="6620765"/>
            <a:ext cx="18755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b" anchorCtr="0">
            <a:sp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</a:pPr>
            <a:fld id="{4ABDCABE-3F10-B64C-92F1-862014417034}" type="slidenum">
              <a:rPr kumimoji="0" lang="en-US" sz="1200" b="0" i="0" u="none" strike="noStrike" kern="0" cap="none" spc="0" normalizeH="0" baseline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cs typeface="Arial"/>
              </a:rPr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88888"/>
                </a:buClr>
                <a:buSzPts val="1200"/>
                <a:buFont typeface="Arial"/>
                <a:buNone/>
                <a:tabLst/>
              </a:pPr>
              <a:t>‹#›</a:t>
            </a:fld>
            <a:endParaRPr kumimoji="0" lang="en-US" sz="1200" b="0" i="0" u="none" strike="noStrike" kern="0" cap="none" spc="0" normalizeH="0" baseline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BBB74101-6463-4E88-BA33-18CEA0DE4C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87182" y="208854"/>
            <a:ext cx="1052245" cy="413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30817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8478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10123424" cy="384721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DE7E591-96B9-4DDF-957E-C91A46D60FAC}"/>
              </a:ext>
            </a:extLst>
          </p:cNvPr>
          <p:cNvSpPr txBox="1"/>
          <p:nvPr userDrawn="1"/>
        </p:nvSpPr>
        <p:spPr>
          <a:xfrm>
            <a:off x="554736" y="6620765"/>
            <a:ext cx="261407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>
              <a:defRPr lang="en-US"/>
            </a:defPPr>
            <a:lvl1pPr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t>OFFIC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EB0F5A9-47E6-46FF-A37F-790763DEBFAF}"/>
              </a:ext>
            </a:extLst>
          </p:cNvPr>
          <p:cNvSpPr txBox="1"/>
          <p:nvPr userDrawn="1"/>
        </p:nvSpPr>
        <p:spPr>
          <a:xfrm>
            <a:off x="5305720" y="6620765"/>
            <a:ext cx="1580561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b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en-GB" noProof="0">
                <a:sym typeface="+mn-lt"/>
              </a:rPr>
              <a:t>INTERNAL USE ONLY</a:t>
            </a: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F8EC4F45-03AC-4352-80B8-95680284AD3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87182" y="208854"/>
            <a:ext cx="1052245" cy="413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E9147CC5-CDBA-4100-9C73-CE2747B2C52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81499" y="6620765"/>
            <a:ext cx="18755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b" anchorCtr="0">
            <a:sp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</a:pPr>
            <a:fld id="{4ABDCABE-3F10-B64C-92F1-862014417034}" type="slidenum">
              <a:rPr kumimoji="0" lang="en-US" sz="1200" b="0" i="0" u="none" strike="noStrike" kern="0" cap="none" spc="0" normalizeH="0" baseline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cs typeface="Arial"/>
              </a:rPr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88888"/>
                </a:buClr>
                <a:buSzPts val="1200"/>
                <a:buFont typeface="Arial"/>
                <a:buNone/>
                <a:tabLst/>
              </a:pPr>
              <a:t>‹#›</a:t>
            </a:fld>
            <a:endParaRPr kumimoji="0" lang="en-US" sz="1200" b="0" i="0" u="none" strike="noStrike" kern="0" cap="none" spc="0" normalizeH="0" baseline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335244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888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C1DE88-03EA-431A-9AE7-41E8F645AD36}"/>
              </a:ext>
            </a:extLst>
          </p:cNvPr>
          <p:cNvSpPr txBox="1"/>
          <p:nvPr userDrawn="1"/>
        </p:nvSpPr>
        <p:spPr>
          <a:xfrm>
            <a:off x="554736" y="6620765"/>
            <a:ext cx="261407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>
              <a:defRPr lang="en-US"/>
            </a:defPPr>
            <a:lvl1pPr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t>OFFIC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DE3C16-9C9E-4FB2-BBC5-459AE8AADE34}"/>
              </a:ext>
            </a:extLst>
          </p:cNvPr>
          <p:cNvSpPr txBox="1"/>
          <p:nvPr userDrawn="1"/>
        </p:nvSpPr>
        <p:spPr>
          <a:xfrm>
            <a:off x="5305720" y="6620765"/>
            <a:ext cx="1580561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b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en-GB" noProof="0">
                <a:sym typeface="+mn-lt"/>
              </a:rPr>
              <a:t>INTERNAL USE ONLY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86758FD-A832-41A3-9C63-329F20B569EB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81499" y="6620765"/>
            <a:ext cx="18755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b" anchorCtr="0">
            <a:sp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</a:pPr>
            <a:fld id="{4ABDCABE-3F10-B64C-92F1-862014417034}" type="slidenum">
              <a:rPr kumimoji="0" lang="en-US" sz="1200" b="0" i="0" u="none" strike="noStrike" kern="0" cap="none" spc="0" normalizeH="0" baseline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cs typeface="Arial"/>
              </a:rPr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88888"/>
                </a:buClr>
                <a:buSzPts val="1200"/>
                <a:buFont typeface="Arial"/>
                <a:buNone/>
                <a:tabLst/>
              </a:pPr>
              <a:t>‹#›</a:t>
            </a:fld>
            <a:endParaRPr kumimoji="0" lang="en-US" sz="1200" b="0" i="0" u="none" strike="noStrike" kern="0" cap="none" spc="0" normalizeH="0" baseline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44F6952F-09B6-4CE7-BBE4-EA4ED8D95F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87182" y="208854"/>
            <a:ext cx="1052245" cy="413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299010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3345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96669FC-E491-4A6E-9754-075BF1209C4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68628" y="2749463"/>
            <a:ext cx="3454746" cy="13590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54473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F41C13-0DB6-4E28-9521-FD744346DD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51F445-D392-4789-9479-AF028CB55CC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65E6804-E436-2947-81F5-FCC5E465C1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C&amp;I Resourcing Team 28th March 2022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C176BFD-AF1B-334D-884D-C08E0A3D50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en-GB" sz="1400"/>
          </a:p>
        </p:txBody>
      </p:sp>
    </p:spTree>
    <p:extLst>
      <p:ext uri="{BB962C8B-B14F-4D97-AF65-F5344CB8AC3E}">
        <p14:creationId xmlns:p14="http://schemas.microsoft.com/office/powerpoint/2010/main" val="22299897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284271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70661" y="5847781"/>
            <a:ext cx="6868800" cy="436195"/>
          </a:xfrm>
          <a:prstGeom prst="rect">
            <a:avLst/>
          </a:prstGeom>
          <a:noFill/>
        </p:spPr>
        <p:txBody>
          <a:bodyPr anchor="t"/>
          <a:lstStyle>
            <a:lvl1pPr algn="l">
              <a:lnSpc>
                <a:spcPct val="110000"/>
              </a:lnSpc>
              <a:buNone/>
              <a:defRPr sz="1600" b="0" i="0" cap="none" baseline="0">
                <a:solidFill>
                  <a:srgbClr val="425563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0660" y="5245067"/>
            <a:ext cx="6868800" cy="436195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10000"/>
              </a:lnSpc>
              <a:buNone/>
              <a:defRPr sz="1600" cap="all" baseline="0">
                <a:solidFill>
                  <a:srgbClr val="425563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70661" y="3347075"/>
            <a:ext cx="6868800" cy="646331"/>
          </a:xfrm>
          <a:prstGeom prst="rect">
            <a:avLst/>
          </a:prstGeom>
        </p:spPr>
        <p:txBody>
          <a:bodyPr tIns="45720" bIns="45720" anchor="t">
            <a:normAutofit/>
          </a:bodyPr>
          <a:lstStyle>
            <a:lvl1pPr algn="l">
              <a:lnSpc>
                <a:spcPct val="93000"/>
              </a:lnSpc>
              <a:defRPr sz="4000" b="0" cap="all" baseline="0">
                <a:solidFill>
                  <a:srgbClr val="425563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25" name="Picture 2">
            <a:extLst>
              <a:ext uri="{FF2B5EF4-FFF2-40B4-BE49-F238E27FC236}">
                <a16:creationId xmlns:a16="http://schemas.microsoft.com/office/drawing/2014/main" id="{3B97149E-8767-434D-B782-29EA61AD66B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87650" y="380723"/>
            <a:ext cx="2792497" cy="109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630000" y="6450495"/>
            <a:ext cx="261407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b" anchorCtr="0">
            <a:noAutofit/>
          </a:bodyPr>
          <a:lstStyle>
            <a:defPPr>
              <a:defRPr lang="en-US"/>
            </a:defPPr>
            <a:lvl1pPr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t>OFFICIA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4788961" y="6450495"/>
            <a:ext cx="261407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36000" rIns="91425" bIns="36000" anchor="b" anchorCtr="0">
            <a:noAutofit/>
          </a:bodyPr>
          <a:lstStyle>
            <a:defPPr>
              <a:defRPr lang="en-US"/>
            </a:defPPr>
            <a:lvl1pPr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t>INTERNAL USE ONLY</a:t>
            </a:r>
          </a:p>
        </p:txBody>
      </p:sp>
      <p:sp>
        <p:nvSpPr>
          <p:cNvPr id="2" name="Working Draft Text" hidden="1">
            <a:extLst>
              <a:ext uri="{FF2B5EF4-FFF2-40B4-BE49-F238E27FC236}">
                <a16:creationId xmlns:a16="http://schemas.microsoft.com/office/drawing/2014/main" id="{12F3108E-07A7-4F2B-837C-B13B70304BE2}"/>
              </a:ext>
            </a:extLst>
          </p:cNvPr>
          <p:cNvSpPr txBox="1"/>
          <p:nvPr userDrawn="1"/>
        </p:nvSpPr>
        <p:spPr>
          <a:xfrm>
            <a:off x="3442986" y="252884"/>
            <a:ext cx="1178528" cy="23083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900" b="1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3" name="Working Draft" hidden="1">
            <a:extLst>
              <a:ext uri="{FF2B5EF4-FFF2-40B4-BE49-F238E27FC236}">
                <a16:creationId xmlns:a16="http://schemas.microsoft.com/office/drawing/2014/main" id="{BEC21FAE-8CF4-49D2-8202-CD4C0616357F}"/>
              </a:ext>
            </a:extLst>
          </p:cNvPr>
          <p:cNvSpPr txBox="1"/>
          <p:nvPr userDrawn="1"/>
        </p:nvSpPr>
        <p:spPr>
          <a:xfrm>
            <a:off x="2593394" y="405284"/>
            <a:ext cx="2877711" cy="23083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900">
                <a:solidFill>
                  <a:srgbClr val="000000"/>
                </a:solidFill>
              </a:rPr>
              <a:t>Last Modified 24/06/2021 10:16 GMT Standard Time</a:t>
            </a:r>
          </a:p>
        </p:txBody>
      </p:sp>
      <p:sp>
        <p:nvSpPr>
          <p:cNvPr id="5" name="Printed" hidden="1">
            <a:extLst>
              <a:ext uri="{FF2B5EF4-FFF2-40B4-BE49-F238E27FC236}">
                <a16:creationId xmlns:a16="http://schemas.microsoft.com/office/drawing/2014/main" id="{6189E273-9714-4544-A487-F776893AA53B}"/>
              </a:ext>
            </a:extLst>
          </p:cNvPr>
          <p:cNvSpPr txBox="1"/>
          <p:nvPr userDrawn="1"/>
        </p:nvSpPr>
        <p:spPr>
          <a:xfrm>
            <a:off x="3757174" y="557684"/>
            <a:ext cx="550151" cy="23083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900">
                <a:solidFill>
                  <a:srgbClr val="000000"/>
                </a:solidFill>
              </a:rPr>
              <a:t>Printed</a:t>
            </a:r>
          </a:p>
        </p:txBody>
      </p:sp>
    </p:spTree>
    <p:extLst>
      <p:ext uri="{BB962C8B-B14F-4D97-AF65-F5344CB8AC3E}">
        <p14:creationId xmlns:p14="http://schemas.microsoft.com/office/powerpoint/2010/main" val="942608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70661" y="5847781"/>
            <a:ext cx="6868800" cy="436195"/>
          </a:xfrm>
          <a:prstGeom prst="rect">
            <a:avLst/>
          </a:prstGeom>
          <a:noFill/>
        </p:spPr>
        <p:txBody>
          <a:bodyPr anchor="t"/>
          <a:lstStyle>
            <a:lvl1pPr algn="l">
              <a:lnSpc>
                <a:spcPct val="110000"/>
              </a:lnSpc>
              <a:buNone/>
              <a:defRPr sz="1600" b="0" i="0" cap="none" baseline="0">
                <a:solidFill>
                  <a:srgbClr val="425563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570660" y="5245067"/>
            <a:ext cx="6868800" cy="436195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10000"/>
              </a:lnSpc>
              <a:buNone/>
              <a:defRPr sz="1600" cap="all" baseline="0">
                <a:solidFill>
                  <a:srgbClr val="425563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70661" y="3347075"/>
            <a:ext cx="6868800" cy="646331"/>
          </a:xfrm>
          <a:prstGeom prst="rect">
            <a:avLst/>
          </a:prstGeom>
        </p:spPr>
        <p:txBody>
          <a:bodyPr tIns="45720" bIns="45720" anchor="t">
            <a:normAutofit/>
          </a:bodyPr>
          <a:lstStyle>
            <a:lvl1pPr algn="l">
              <a:lnSpc>
                <a:spcPct val="93000"/>
              </a:lnSpc>
              <a:defRPr sz="4000" b="0" cap="all" baseline="0">
                <a:solidFill>
                  <a:srgbClr val="425563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25" name="Picture 2">
            <a:extLst>
              <a:ext uri="{FF2B5EF4-FFF2-40B4-BE49-F238E27FC236}">
                <a16:creationId xmlns:a16="http://schemas.microsoft.com/office/drawing/2014/main" id="{3B97149E-8767-434D-B782-29EA61AD66B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7650" y="380723"/>
            <a:ext cx="2792497" cy="109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630000" y="6450495"/>
            <a:ext cx="261407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b" anchorCtr="0">
            <a:noAutofit/>
          </a:bodyPr>
          <a:lstStyle>
            <a:defPPr>
              <a:defRPr lang="en-US"/>
            </a:defPPr>
            <a:lvl1pPr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t>OFFICIAL-SENSITIV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4788961" y="6450495"/>
            <a:ext cx="261407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36000" rIns="91425" bIns="36000" anchor="b" anchorCtr="0">
            <a:noAutofit/>
          </a:bodyPr>
          <a:lstStyle>
            <a:defPPr>
              <a:defRPr lang="en-US"/>
            </a:defPPr>
            <a:lvl1pPr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196006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5EB8"/>
          </a:solidFill>
          <a:ln w="9525" cap="rnd" cmpd="sng" algn="ctr">
            <a:solidFill>
              <a:srgbClr val="005EB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456600"/>
            <a:ext cx="10084383" cy="332399"/>
          </a:xfrm>
        </p:spPr>
        <p:txBody>
          <a:bodyPr/>
          <a:lstStyle>
            <a:lvl1pPr>
              <a:defRPr>
                <a:solidFill>
                  <a:srgbClr val="005EB8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3B97149E-8767-434D-B782-29EA61AD66B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91857" y="221896"/>
            <a:ext cx="740285" cy="332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See the source image">
            <a:extLst>
              <a:ext uri="{FF2B5EF4-FFF2-40B4-BE49-F238E27FC236}">
                <a16:creationId xmlns:a16="http://schemas.microsoft.com/office/drawing/2014/main" id="{DFE1687F-1734-46E3-AF59-D671589BBD6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6188" y="221896"/>
            <a:ext cx="591236" cy="342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65F7A4E-AA4A-44BC-AD71-D0C1439A125A}"/>
              </a:ext>
            </a:extLst>
          </p:cNvPr>
          <p:cNvSpPr/>
          <p:nvPr userDrawn="1"/>
        </p:nvSpPr>
        <p:spPr>
          <a:xfrm>
            <a:off x="10048240" y="142240"/>
            <a:ext cx="1981200" cy="497840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642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5EB8"/>
          </a:solidFill>
          <a:ln w="9525" cap="rnd" cmpd="sng" algn="ctr">
            <a:solidFill>
              <a:srgbClr val="005EB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084383" cy="332399"/>
          </a:xfrm>
        </p:spPr>
        <p:txBody>
          <a:bodyPr/>
          <a:lstStyle>
            <a:lvl1pPr>
              <a:defRPr>
                <a:solidFill>
                  <a:srgbClr val="005EB8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0000" y="2081213"/>
            <a:ext cx="5181600" cy="343169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1750" y="2081213"/>
            <a:ext cx="5181600" cy="343169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D288B199-35FD-4743-BAC2-6A71DD9F71E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7182" y="208854"/>
            <a:ext cx="1052245" cy="413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2661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wo column w/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5EB8"/>
          </a:solidFill>
          <a:ln w="9525" cap="rnd" cmpd="sng" algn="ctr">
            <a:solidFill>
              <a:srgbClr val="005EB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084383" cy="332399"/>
          </a:xfrm>
        </p:spPr>
        <p:txBody>
          <a:bodyPr/>
          <a:lstStyle>
            <a:lvl1pPr>
              <a:defRPr>
                <a:solidFill>
                  <a:srgbClr val="005EB8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0000" y="2425771"/>
            <a:ext cx="5181600" cy="308713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81750" y="2425771"/>
            <a:ext cx="5181600" cy="308713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630000" y="1616977"/>
            <a:ext cx="5181600" cy="663022"/>
          </a:xfrm>
        </p:spPr>
        <p:txBody>
          <a:bodyPr anchor="b"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381750" y="1616977"/>
            <a:ext cx="5181600" cy="663022"/>
          </a:xfrm>
        </p:spPr>
        <p:txBody>
          <a:bodyPr anchor="b"/>
          <a:lstStyle>
            <a:lvl1pPr marL="0" indent="0">
              <a:buNone/>
              <a:defRPr sz="16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Header</a:t>
            </a: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BCB08505-AC94-479C-BA75-537B97AE3B7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7182" y="208854"/>
            <a:ext cx="1052245" cy="413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09487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5EB8"/>
          </a:solidFill>
          <a:ln w="9525" cap="rnd" cmpd="sng" algn="ctr">
            <a:solidFill>
              <a:srgbClr val="005EB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1" y="622800"/>
            <a:ext cx="10084383" cy="332399"/>
          </a:xfrm>
        </p:spPr>
        <p:txBody>
          <a:bodyPr/>
          <a:lstStyle>
            <a:lvl1pPr>
              <a:defRPr>
                <a:solidFill>
                  <a:srgbClr val="005EB8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400" y="1616977"/>
            <a:ext cx="10933950" cy="389592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538E4A04-B503-4078-978D-36F60A93A7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7182" y="208854"/>
            <a:ext cx="1052245" cy="413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2658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5EB8"/>
          </a:solidFill>
          <a:ln w="9525" cap="rnd" cmpd="sng" algn="ctr">
            <a:solidFill>
              <a:srgbClr val="005EB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5EB8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41B6E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94B42A66-8A35-4E15-9F03-C78ED2DE35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7182" y="208854"/>
            <a:ext cx="1052245" cy="413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4827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70661" y="3347075"/>
            <a:ext cx="6868800" cy="646331"/>
          </a:xfrm>
          <a:prstGeom prst="rect">
            <a:avLst/>
          </a:prstGeom>
        </p:spPr>
        <p:txBody>
          <a:bodyPr tIns="45720" bIns="45720" anchor="t">
            <a:normAutofit/>
          </a:bodyPr>
          <a:lstStyle>
            <a:lvl1pPr algn="l">
              <a:lnSpc>
                <a:spcPct val="93000"/>
              </a:lnSpc>
              <a:defRPr sz="4000" b="0" cap="all" baseline="0">
                <a:solidFill>
                  <a:srgbClr val="425563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ext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54D591A5-5BBC-4828-9F04-1498C556937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7650" y="380723"/>
            <a:ext cx="2792497" cy="109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96334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CCFA8AA-1F36-4E3C-977C-A7C918EE0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"/>
            <a:ext cx="12183537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982F404-A628-4163-A67A-017625A1F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6CC20F-2520-4988-AFE4-EBE97F23EF9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60000" y="1440000"/>
            <a:ext cx="5580000" cy="4711419"/>
          </a:xfrm>
        </p:spPr>
        <p:txBody>
          <a:bodyPr/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lvl1pPr>
            <a:lvl2pPr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lvl3pPr>
            <a:lvl4pPr marL="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4pPr>
            <a:lvl5pPr marL="460788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5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Heading 1</a:t>
            </a:r>
          </a:p>
          <a:p>
            <a:pPr marL="0" lvl="1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/>
              <a:t>Heading 2</a:t>
            </a:r>
          </a:p>
          <a:p>
            <a:pPr marL="0" lvl="2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/>
              <a:t>Body copy</a:t>
            </a:r>
          </a:p>
          <a:p>
            <a:pPr marL="0" lvl="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/>
              <a:t>Bullet</a:t>
            </a:r>
          </a:p>
          <a:p>
            <a:pPr marL="460788" lvl="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/>
              <a:t>Bullet sub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ABA3220-04BF-4C22-9F1D-EA71CB2E4D1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24072" y="1440000"/>
            <a:ext cx="5580000" cy="4711419"/>
          </a:xfrm>
        </p:spPr>
        <p:txBody>
          <a:bodyPr/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lvl1pPr>
            <a:lvl2pPr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lvl3pPr>
            <a:lvl4pPr marL="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4pPr>
            <a:lvl5pPr marL="460788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5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Heading 1</a:t>
            </a:r>
          </a:p>
          <a:p>
            <a:pPr marL="0" lvl="1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/>
              <a:t>Heading 2</a:t>
            </a:r>
          </a:p>
          <a:p>
            <a:pPr marL="0" lvl="2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/>
              <a:t>Body copy</a:t>
            </a:r>
          </a:p>
          <a:p>
            <a:pPr marL="0" lvl="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/>
              <a:t>Bullet</a:t>
            </a:r>
          </a:p>
          <a:p>
            <a:pPr marL="460788" lvl="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/>
              <a:t>Bullet sub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9C2192-61D5-4EB8-AAF7-C62287CE3E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C&amp;I Resourcing Team 28th March 2022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E3B638-8AEF-4744-AF26-A06733AEBC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44ADC-FBC0-4698-B0EC-1AD4A40603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43100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E8ADD9-C943-418A-9D35-CC865F95F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914506-EEE5-4D8C-850E-4F0922B6B43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046333-AC78-4EDE-9D8D-21DCF6FCEA5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E4E894C-2A2B-A74C-BFBD-B15007757C8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CC&amp;I Resourcing Team 28th March 2022</a:t>
            </a:r>
            <a:endParaRPr lang="en-GB" sz="140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5D39806-AD25-A04F-9636-F009A170C8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4369E4-5DE7-46E5-874E-4FD437973785}" type="slidenum">
              <a:rPr lang="en-GB" smtClean="0"/>
              <a:pPr/>
              <a:t>‹#›</a:t>
            </a:fld>
            <a:endParaRPr lang="en-GB" sz="1400"/>
          </a:p>
        </p:txBody>
      </p:sp>
    </p:spTree>
    <p:extLst>
      <p:ext uri="{BB962C8B-B14F-4D97-AF65-F5344CB8AC3E}">
        <p14:creationId xmlns:p14="http://schemas.microsoft.com/office/powerpoint/2010/main" val="26510491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0824469A-6F22-7347-8E61-D8F05D0ED6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963" y="1271056"/>
            <a:ext cx="6373950" cy="586662"/>
          </a:xfrm>
        </p:spPr>
        <p:txBody>
          <a:bodyPr anchor="t">
            <a:noAutofit/>
          </a:bodyPr>
          <a:lstStyle>
            <a:lvl1pPr>
              <a:defRPr sz="1500" b="0"/>
            </a:lvl1pPr>
          </a:lstStyle>
          <a:p>
            <a:pPr lvl="0"/>
            <a:r>
              <a:rPr lang="en-GB"/>
              <a:t>15pt - Use for headlining or DEL accordingly</a:t>
            </a:r>
            <a:endParaRPr lang="en-US"/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B2DFB671-90A2-5D42-8E80-65377C19DC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2019133"/>
            <a:ext cx="6373950" cy="2195995"/>
          </a:xfrm>
        </p:spPr>
        <p:txBody>
          <a:bodyPr anchor="t">
            <a:noAutofit/>
          </a:bodyPr>
          <a:lstStyle>
            <a:lvl1pPr>
              <a:defRPr sz="1300" b="0"/>
            </a:lvl1pPr>
          </a:lstStyle>
          <a:p>
            <a:pPr lvl="0"/>
            <a:r>
              <a:rPr lang="en-GB"/>
              <a:t>13pt – Main copy text or DEL accordingly</a:t>
            </a:r>
            <a:endParaRPr lang="en-US"/>
          </a:p>
        </p:txBody>
      </p:sp>
      <p:sp>
        <p:nvSpPr>
          <p:cNvPr id="8" name="Text Placeholder 19">
            <a:extLst>
              <a:ext uri="{FF2B5EF4-FFF2-40B4-BE49-F238E27FC236}">
                <a16:creationId xmlns:a16="http://schemas.microsoft.com/office/drawing/2014/main" id="{5C07A333-E456-3F41-B380-B6C4F7C692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5124640"/>
            <a:ext cx="6373950" cy="576468"/>
          </a:xfrm>
        </p:spPr>
        <p:txBody>
          <a:bodyPr anchor="t">
            <a:noAutofit/>
          </a:bodyPr>
          <a:lstStyle>
            <a:lvl1pPr>
              <a:defRPr sz="1000" b="0"/>
            </a:lvl1pPr>
          </a:lstStyle>
          <a:p>
            <a:pPr lvl="0"/>
            <a:r>
              <a:rPr lang="en-GB"/>
              <a:t>10pt – Small copy text or DEL accordingly</a:t>
            </a:r>
            <a:endParaRPr lang="en-US"/>
          </a:p>
        </p:txBody>
      </p:sp>
      <p:sp>
        <p:nvSpPr>
          <p:cNvPr id="11" name="Text Placeholder 19">
            <a:extLst>
              <a:ext uri="{FF2B5EF4-FFF2-40B4-BE49-F238E27FC236}">
                <a16:creationId xmlns:a16="http://schemas.microsoft.com/office/drawing/2014/main" id="{400A2B15-404C-4E4E-9745-C99E23D066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4963" y="5811140"/>
            <a:ext cx="6373950" cy="419808"/>
          </a:xfrm>
        </p:spPr>
        <p:txBody>
          <a:bodyPr anchor="b">
            <a:noAutofit/>
          </a:bodyPr>
          <a:lstStyle>
            <a:lvl1pPr>
              <a:defRPr sz="1000" b="0"/>
            </a:lvl1pPr>
          </a:lstStyle>
          <a:p>
            <a:pPr lvl="0"/>
            <a:r>
              <a:rPr lang="en-GB"/>
              <a:t>9pt – Small copy text or DEL accordingly</a:t>
            </a:r>
            <a:endParaRPr lang="en-US"/>
          </a:p>
        </p:txBody>
      </p:sp>
      <p:sp>
        <p:nvSpPr>
          <p:cNvPr id="9" name="Title Placeholder 23">
            <a:extLst>
              <a:ext uri="{FF2B5EF4-FFF2-40B4-BE49-F238E27FC236}">
                <a16:creationId xmlns:a16="http://schemas.microsoft.com/office/drawing/2014/main" id="{F680FD6A-C097-A34E-AD68-9107C08CE0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15267"/>
            <a:ext cx="9345750" cy="57646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0738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1"/>
          </a:xfrm>
          <a:prstGeom prst="rect">
            <a:avLst/>
          </a:prstGeom>
          <a:solidFill>
            <a:srgbClr val="007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27381" y="2232249"/>
            <a:ext cx="11233248" cy="1724503"/>
          </a:xfrm>
          <a:ln>
            <a:noFill/>
          </a:ln>
        </p:spPr>
        <p:txBody>
          <a:bodyPr anchor="t">
            <a:noAutofit/>
          </a:bodyPr>
          <a:lstStyle>
            <a:lvl1pPr algn="l">
              <a:defRPr sz="533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7381" y="5760638"/>
            <a:ext cx="11233248" cy="356661"/>
          </a:xfrm>
        </p:spPr>
        <p:txBody>
          <a:bodyPr anchor="b">
            <a:normAutofit/>
          </a:bodyPr>
          <a:lstStyle>
            <a:lvl1pPr marL="0" indent="0" algn="l">
              <a:spcBef>
                <a:spcPts val="0"/>
              </a:spcBef>
              <a:buNone/>
              <a:defRPr sz="2667" b="0" i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829AF3C-0450-F444-9AF7-DBA47B14A5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331149"/>
            <a:ext cx="1248139" cy="1198708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0687886-BFD1-4486-AC3E-019256FFB878}"/>
              </a:ext>
            </a:extLst>
          </p:cNvPr>
          <p:cNvCxnSpPr/>
          <p:nvPr userDrawn="1"/>
        </p:nvCxnSpPr>
        <p:spPr>
          <a:xfrm>
            <a:off x="0" y="2006600"/>
            <a:ext cx="12192000" cy="0"/>
          </a:xfrm>
          <a:prstGeom prst="line">
            <a:avLst/>
          </a:prstGeom>
          <a:ln w="57150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33087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6C20DF-56A1-44A9-A429-8B05468D2A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BA82AB-E9DB-425C-9352-E0A272AD0E4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  <a:p>
            <a:pPr lvl="4"/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4FD6833-A055-4CE8-AB12-41A1997D9B7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C6F2F5E-B4CD-46C2-B6AC-8052CF2B36A5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  <a:p>
            <a:pPr lvl="4"/>
            <a:endParaRPr lang="en-GB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503C25A-9D93-4F4F-8253-B7AB9B2BC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CB930E85-4B03-2D45-B847-D4398F5F914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CC&amp;I Resourcing Team 28th March 2022</a:t>
            </a:r>
            <a:endParaRPr lang="en-GB" sz="140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E1D73D8-44E6-D54F-8151-2BDA8CF08C5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4369E4-5DE7-46E5-874E-4FD437973785}" type="slidenum">
              <a:rPr lang="en-GB" smtClean="0"/>
              <a:pPr/>
              <a:t>‹#›</a:t>
            </a:fld>
            <a:endParaRPr lang="en-GB" sz="1400"/>
          </a:p>
        </p:txBody>
      </p:sp>
    </p:spTree>
    <p:extLst>
      <p:ext uri="{BB962C8B-B14F-4D97-AF65-F5344CB8AC3E}">
        <p14:creationId xmlns:p14="http://schemas.microsoft.com/office/powerpoint/2010/main" val="864240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EBC75E-5812-48FD-BCBD-1235D22F0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980B7E6-3A31-244C-8D5C-297872DC3E1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CC&amp;I Resourcing Team 28th March 2022</a:t>
            </a:r>
            <a:endParaRPr lang="en-GB" sz="140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F38D384-66F4-D748-9499-51EC5883028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4369E4-5DE7-46E5-874E-4FD437973785}" type="slidenum">
              <a:rPr lang="en-GB" smtClean="0"/>
              <a:pPr/>
              <a:t>‹#›</a:t>
            </a:fld>
            <a:endParaRPr lang="en-GB" sz="1400"/>
          </a:p>
        </p:txBody>
      </p:sp>
    </p:spTree>
    <p:extLst>
      <p:ext uri="{BB962C8B-B14F-4D97-AF65-F5344CB8AC3E}">
        <p14:creationId xmlns:p14="http://schemas.microsoft.com/office/powerpoint/2010/main" val="2131390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2053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id="{67DF3B8A-F25A-4547-9F44-E9B86C3A66A9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786645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13D5400D-62CE-4E45-88A3-35B43BC95CAA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959343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85453E3D-F8FD-4B68-87E4-3F6F25B3C61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2408492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80600478-6EDC-45D0-B3C3-02058A8342D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87650" y="380723"/>
            <a:ext cx="2792497" cy="109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6F5B731-C5CA-471F-B92E-F81769C71CB7}"/>
              </a:ext>
            </a:extLst>
          </p:cNvPr>
          <p:cNvSpPr txBox="1"/>
          <p:nvPr userDrawn="1"/>
        </p:nvSpPr>
        <p:spPr>
          <a:xfrm>
            <a:off x="554736" y="6620765"/>
            <a:ext cx="261407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>
              <a:defRPr lang="en-US"/>
            </a:defPPr>
            <a:lvl1pPr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t>OFFIC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1B656C3-7674-4E3F-B361-895EC4F042C9}"/>
              </a:ext>
            </a:extLst>
          </p:cNvPr>
          <p:cNvSpPr txBox="1"/>
          <p:nvPr userDrawn="1"/>
        </p:nvSpPr>
        <p:spPr>
          <a:xfrm>
            <a:off x="5305720" y="6620765"/>
            <a:ext cx="1580561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b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en-GB" noProof="0">
                <a:sym typeface="+mn-lt"/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135751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9583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10179939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58003"/>
            <a:ext cx="10179939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20226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5189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1943573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0685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0461008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tags" Target="../tags/tag1.xml"/><Relationship Id="rId26" Type="http://schemas.openxmlformats.org/officeDocument/2006/relationships/tags" Target="../tags/tag9.xml"/><Relationship Id="rId39" Type="http://schemas.openxmlformats.org/officeDocument/2006/relationships/oleObject" Target="../embeddings/oleObject1.bin"/><Relationship Id="rId3" Type="http://schemas.openxmlformats.org/officeDocument/2006/relationships/slideLayout" Target="../slideLayouts/slideLayout8.xml"/><Relationship Id="rId21" Type="http://schemas.openxmlformats.org/officeDocument/2006/relationships/tags" Target="../tags/tag4.xml"/><Relationship Id="rId34" Type="http://schemas.openxmlformats.org/officeDocument/2006/relationships/tags" Target="../tags/tag17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theme" Target="../theme/theme2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tags" Target="../tags/tag3.xml"/><Relationship Id="rId29" Type="http://schemas.openxmlformats.org/officeDocument/2006/relationships/tags" Target="../tags/tag12.xml"/><Relationship Id="rId41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tags" Target="../tags/tag7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40" Type="http://schemas.openxmlformats.org/officeDocument/2006/relationships/image" Target="../media/image3.emf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10" Type="http://schemas.openxmlformats.org/officeDocument/2006/relationships/slideLayout" Target="../slideLayouts/slideLayout15.xml"/><Relationship Id="rId19" Type="http://schemas.openxmlformats.org/officeDocument/2006/relationships/tags" Target="../tags/tag2.xml"/><Relationship Id="rId31" Type="http://schemas.openxmlformats.org/officeDocument/2006/relationships/tags" Target="../tags/tag14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ags" Target="../tags/tag113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ags" Target="../tags/tag11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11.emf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oleObject" Target="../embeddings/oleObject1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5F3503B-7986-436C-9822-A1854F9D9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6" y="179416"/>
            <a:ext cx="10515600" cy="97260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F05904-E451-4DAC-98D7-82FCA86A4A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0205" y="1774826"/>
            <a:ext cx="1112385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A9E1E3-76D3-49B4-BA11-2CCBDA7CAD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438850"/>
            <a:ext cx="10007606" cy="363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C&amp;I Resourcing Team 28th March 2022</a:t>
            </a:r>
            <a:endParaRPr lang="en-GB" sz="140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F5F349-A985-4FF9-9FE5-9D2B321F56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0629" y="6438850"/>
            <a:ext cx="5963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44369E4-5DE7-46E5-874E-4FD437973785}" type="slidenum">
              <a:rPr lang="en-GB" smtClean="0"/>
              <a:pPr/>
              <a:t>‹#›</a:t>
            </a:fld>
            <a:endParaRPr lang="en-GB" sz="1400"/>
          </a:p>
        </p:txBody>
      </p:sp>
    </p:spTree>
    <p:extLst>
      <p:ext uri="{BB962C8B-B14F-4D97-AF65-F5344CB8AC3E}">
        <p14:creationId xmlns:p14="http://schemas.microsoft.com/office/powerpoint/2010/main" val="1044311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80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007C9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7C9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7C9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7C9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7C9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065844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413" imgH="416" progId="TCLayout.ActiveDocument.1">
                  <p:embed/>
                </p:oleObj>
              </mc:Choice>
              <mc:Fallback>
                <p:oleObj name="think-cell Slide" r:id="rId3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519011"/>
            <a:ext cx="10168372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CDC774DC-ADAF-4EA8-AE03-68E78FC8E8A0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A59C0345-E31A-4300-A914-6856E161CF52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02051C6A-BB8F-4D7F-A08B-1356915ED58F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7F6847D9-6950-41BB-ADD0-E2651CF82637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AD480E1A-091A-4A25-B2C7-618F419C58C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A991864C-7541-4087-9ADB-E438131E4FE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3F6EBF27-DF01-4FC5-99BB-8C2A151880B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E11C3732-424C-4996-BF7B-0EFFE2ECFA20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FDD091ED-C587-445D-B1CB-A769F0C153B2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36404BCE-3DFC-4055-A4BD-91FF26F457C3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02597532-DF1C-4C2A-BC97-1722524BCA02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805D6125-B61C-4736-9254-2286DD4969D8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7165BDCB-428C-49EC-BE43-BE0C07D8B0E4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B9872441-EB69-4FBC-BE00-083D438EF8D6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D91216BA-5A83-4B82-9DF3-E2C479BAB801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212818FA-4939-48BA-BA9B-49D911FDB3D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77D9A306-C6FE-4D2F-A26A-93904F22B1D1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B480E89D-ECAA-4AC9-85E9-3B15310036FE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3AC6E550-C664-445C-A180-45AB775FEC23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638A8399-190A-4D0F-AC45-240FF3FA2EF5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54CA673B-ECAE-4FF1-B40E-1417D9E0A06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24929E29-3BB6-4AD1-9E87-C2C8460BF179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A125160A-3B63-4F3C-B871-5043138B3564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E81EDCC3-9F94-47E6-A2DE-4F9C25AFC463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1B077C3D-4B0D-4EDD-A92E-62E3AD6DD5E9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E063D48D-471E-4D8C-9DCA-A7C7AC48357C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3F6ACF1D-531E-4699-9A34-A620B031CB34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905E0113-AE42-4CCE-A762-5AEDC57A2B04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24B9F499-7830-44D5-8FDD-7BC2CE594750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C2A0015B-8A72-4A46-BF1E-A07298ABEC8B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B7294BF7-225F-4698-B55C-18CCEB1529E4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60B42C0C-78F2-4423-9112-263C257F9DDF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7D81B313-B671-41DE-98B2-B26660845D6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70B2F791-C1FE-4A28-98EC-DC9B6AB3B672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C5DB8BB8-44AC-43F7-A133-78CCDF73287F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F5BEE03E-3147-4362-B078-0F1A74C89FAB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A4DA3B44-DDED-4B3E-ADF1-94C51C7A269D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50550761-2EFB-4F26-B902-211A769A3576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8FBC89FD-39FB-408E-A66E-CD6268F24D02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0E95D0FF-46A8-46E5-9363-5D5C431558D0}"/>
              </a:ext>
            </a:extLst>
          </p:cNvPr>
          <p:cNvSpPr txBox="1"/>
          <p:nvPr userDrawn="1"/>
        </p:nvSpPr>
        <p:spPr>
          <a:xfrm>
            <a:off x="554736" y="6620765"/>
            <a:ext cx="261407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>
              <a:defRPr lang="en-US"/>
            </a:defPPr>
            <a:lvl1pPr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t>OFFICIAL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66995D84-7616-414E-A64B-7EF12B813EAE}"/>
              </a:ext>
            </a:extLst>
          </p:cNvPr>
          <p:cNvSpPr txBox="1"/>
          <p:nvPr userDrawn="1"/>
        </p:nvSpPr>
        <p:spPr>
          <a:xfrm>
            <a:off x="5305720" y="6620765"/>
            <a:ext cx="1580561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b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en-GB" noProof="0">
                <a:sym typeface="+mn-lt"/>
              </a:rPr>
              <a:t>INTERNAL USE ONLY</a:t>
            </a:r>
          </a:p>
        </p:txBody>
      </p:sp>
      <p:pic>
        <p:nvPicPr>
          <p:cNvPr id="150" name="Picture 2">
            <a:extLst>
              <a:ext uri="{FF2B5EF4-FFF2-40B4-BE49-F238E27FC236}">
                <a16:creationId xmlns:a16="http://schemas.microsoft.com/office/drawing/2014/main" id="{6C2C7966-8065-4739-8B87-49766F9261B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87182" y="208854"/>
            <a:ext cx="1052245" cy="413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1" name="Slide Number">
            <a:extLst>
              <a:ext uri="{FF2B5EF4-FFF2-40B4-BE49-F238E27FC236}">
                <a16:creationId xmlns:a16="http://schemas.microsoft.com/office/drawing/2014/main" id="{6B566D7F-CAE7-4A8F-A151-07DFB35768E4}"/>
              </a:ext>
            </a:extLst>
          </p:cNvPr>
          <p:cNvSpPr>
            <a:spLocks noChangeArrowheads="1"/>
          </p:cNvSpPr>
          <p:nvPr userDrawn="1">
            <p:custDataLst>
              <p:tags r:id="rId23"/>
            </p:custDataLst>
          </p:nvPr>
        </p:nvSpPr>
        <p:spPr bwMode="black">
          <a:xfrm>
            <a:off x="11381499" y="6620765"/>
            <a:ext cx="18755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b" anchorCtr="0">
            <a:sp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</a:pPr>
            <a:fld id="{4ABDCABE-3F10-B64C-92F1-862014417034}" type="slidenum">
              <a:rPr kumimoji="0" lang="en-US" sz="1200" b="0" i="0" u="none" strike="noStrike" kern="0" cap="none" spc="0" normalizeH="0" baseline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cs typeface="Arial"/>
              </a:rPr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88888"/>
                </a:buClr>
                <a:buSzPts val="1200"/>
                <a:buFont typeface="Arial"/>
                <a:buNone/>
                <a:tabLst/>
              </a:pPr>
              <a:t>‹#›</a:t>
            </a:fld>
            <a:endParaRPr kumimoji="0" lang="en-US" sz="1200" b="0" i="0" u="none" strike="noStrike" kern="0" cap="none" spc="0" normalizeH="0" baseline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" name="Working Draft" hidden="1">
            <a:extLst>
              <a:ext uri="{FF2B5EF4-FFF2-40B4-BE49-F238E27FC236}">
                <a16:creationId xmlns:a16="http://schemas.microsoft.com/office/drawing/2014/main" id="{0D3D4C52-58BB-419D-BAD0-F2D07DB3F339}"/>
              </a:ext>
            </a:extLst>
          </p:cNvPr>
          <p:cNvSpPr txBox="1"/>
          <p:nvPr userDrawn="1"/>
        </p:nvSpPr>
        <p:spPr>
          <a:xfrm rot="5400000">
            <a:off x="10858500" y="2540000"/>
            <a:ext cx="2540000" cy="889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600">
                <a:solidFill>
                  <a:srgbClr val="808080"/>
                </a:solidFill>
              </a:rPr>
              <a:t>Last Modified 24/06/2021 10:16 GMT Standard Time</a:t>
            </a: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id="{CD3C079C-8DB2-4288-B525-6D3F9CEB239B}"/>
              </a:ext>
            </a:extLst>
          </p:cNvPr>
          <p:cNvSpPr txBox="1"/>
          <p:nvPr userDrawn="1"/>
        </p:nvSpPr>
        <p:spPr>
          <a:xfrm rot="5400000">
            <a:off x="11493500" y="4445000"/>
            <a:ext cx="1270000" cy="889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600">
                <a:solidFill>
                  <a:srgbClr val="808080"/>
                </a:solidFill>
              </a:rPr>
              <a:t>Printed</a:t>
            </a:r>
          </a:p>
        </p:txBody>
      </p:sp>
    </p:spTree>
    <p:extLst>
      <p:ext uri="{BB962C8B-B14F-4D97-AF65-F5344CB8AC3E}">
        <p14:creationId xmlns:p14="http://schemas.microsoft.com/office/powerpoint/2010/main" val="3198318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  <p:sldLayoutId id="2147483683" r:id="rId1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044381" y="6366193"/>
            <a:ext cx="75969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36000" rIns="91425" bIns="36000" anchor="b" anchorCtr="0">
            <a:noAutofit/>
          </a:bodyPr>
          <a:lstStyle>
            <a:defPPr>
              <a:defRPr lang="en-US"/>
            </a:defPPr>
            <a:lvl1pPr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</a:defRPr>
            </a:lvl1pPr>
          </a:lstStyle>
          <a:p>
            <a:pPr lvl="0"/>
            <a:fld id="{DFCF27A5-1A5B-48D3-A060-2758FFBB1ADD}" type="slidenum">
              <a:rPr lang="en-US" smtClean="0">
                <a:latin typeface="+mn-lt"/>
                <a:ea typeface="+mn-ea"/>
                <a:cs typeface="+mn-cs"/>
                <a:sym typeface="+mn-lt"/>
              </a:rPr>
              <a:pPr lvl="0"/>
              <a:t>‹#›</a:t>
            </a:fld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6366193"/>
            <a:ext cx="261407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b" anchorCtr="0">
            <a:noAutofit/>
          </a:bodyPr>
          <a:lstStyle>
            <a:defPPr>
              <a:defRPr lang="en-US"/>
            </a:defPPr>
            <a:lvl1pPr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t>OFFICIAL-SENSITIV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788961" y="6366193"/>
            <a:ext cx="261407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36000" rIns="91425" bIns="36000" anchor="b" anchorCtr="0">
            <a:noAutofit/>
          </a:bodyPr>
          <a:lstStyle>
            <a:defPPr>
              <a:defRPr lang="en-US"/>
            </a:defPPr>
            <a:lvl1pPr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+mn-lt"/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523053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5EB8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005EB8"/>
        </a:buClr>
        <a:buFont typeface="Arial" panose="020B0604020202020204" pitchFamily="34" charset="0"/>
        <a:buChar char="​"/>
        <a:defRPr lang="en-US" sz="1200" kern="1200">
          <a:solidFill>
            <a:srgbClr val="425563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5EB8"/>
        </a:buClr>
        <a:buFont typeface="Arial" panose="020B0604020202020204" pitchFamily="34" charset="0"/>
        <a:buChar char="•"/>
        <a:defRPr lang="en-US" sz="1200" kern="1200">
          <a:solidFill>
            <a:srgbClr val="425563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5EB8"/>
        </a:buClr>
        <a:buFont typeface="Trebuchet MS" panose="020B0603020202020204" pitchFamily="34" charset="0"/>
        <a:buChar char="–"/>
        <a:defRPr lang="en-US" sz="1200" kern="1200">
          <a:solidFill>
            <a:srgbClr val="425563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005EB8"/>
        </a:buClr>
        <a:buFont typeface="Arial" panose="020B0604020202020204" pitchFamily="34" charset="0"/>
        <a:buChar char="​"/>
        <a:defRPr lang="en-US" sz="1600" kern="1200">
          <a:solidFill>
            <a:srgbClr val="005EB8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5EB8"/>
        </a:buClr>
        <a:buFont typeface="Arial" panose="020B0604020202020204" pitchFamily="34" charset="0"/>
        <a:buChar char="​"/>
        <a:defRPr lang="en-US" sz="1600" b="1" kern="1200" smtClean="0">
          <a:solidFill>
            <a:srgbClr val="425563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5EB8"/>
        </a:buClr>
        <a:buFont typeface="Arial" panose="020B0604020202020204" pitchFamily="34" charset="0"/>
        <a:buChar char="•"/>
        <a:defRPr lang="en-US" sz="1600" kern="1200" smtClean="0">
          <a:solidFill>
            <a:srgbClr val="425563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005EB8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425563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005EB8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005EB8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005EB8"/>
        </a:buClr>
        <a:buFont typeface="Arial" panose="020B0604020202020204" pitchFamily="34" charset="0"/>
        <a:buChar char="​"/>
        <a:defRPr lang="en-US" sz="2400" kern="1200" baseline="0" dirty="0">
          <a:solidFill>
            <a:srgbClr val="005EB8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hyperlink" Target="https://phecloud.sharepoint.com/:x:/r/teams/HPOpsCustomerExperienceTeam/Shared%20Documents/Human-Centred%20Design/Finance%20-%20HCD%20Monthly%20Accruals/Monthly%20accruals.xlsx?d=w22393b695a9b4df8ab884a309a430891&amp;csf=1&amp;web=1&amp;e=MkG5bX" TargetMode="Externa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mailto:francesca@aaglobal.co.uk" TargetMode="External"/><Relationship Id="rId2" Type="http://schemas.openxmlformats.org/officeDocument/2006/relationships/hyperlink" Target="mailto:jayne@aaglobal.co.uk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yulia@aaglobal.co.uk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7911FF-4D56-4ABC-AC80-510EE2B2506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0419" y="2528658"/>
            <a:ext cx="10604154" cy="3851594"/>
          </a:xfrm>
        </p:spPr>
        <p:txBody>
          <a:bodyPr>
            <a:normAutofit fontScale="90000"/>
          </a:bodyPr>
          <a:lstStyle/>
          <a:p>
            <a:r>
              <a:rPr lang="en-GB" sz="5300" b="1">
                <a:latin typeface="Arial"/>
                <a:cs typeface="Arial"/>
              </a:rPr>
              <a:t>AA Global Service Request Process</a:t>
            </a:r>
            <a:br>
              <a:rPr lang="en-GB" sz="5300" b="1">
                <a:latin typeface="Arial"/>
                <a:cs typeface="Arial"/>
              </a:rPr>
            </a:br>
            <a:r>
              <a:rPr lang="en-GB" sz="5300" b="1">
                <a:latin typeface="Arial"/>
                <a:cs typeface="Arial"/>
              </a:rPr>
              <a:t> </a:t>
            </a:r>
            <a:br>
              <a:rPr lang="en-GB" sz="6600" b="1">
                <a:latin typeface="Arial"/>
                <a:cs typeface="Arial"/>
              </a:rPr>
            </a:br>
            <a:r>
              <a:rPr lang="en-GB" sz="5300" b="1">
                <a:latin typeface="Arial"/>
                <a:cs typeface="Arial"/>
              </a:rPr>
              <a:t>Health Protection Team </a:t>
            </a:r>
            <a:br>
              <a:rPr lang="en-GB" sz="6600" b="1"/>
            </a:br>
            <a:br>
              <a:rPr lang="en-GB" sz="6600" b="1"/>
            </a:br>
            <a:r>
              <a:rPr lang="en-GB" sz="3100" b="1">
                <a:latin typeface="Arial"/>
                <a:cs typeface="Arial"/>
              </a:rPr>
              <a:t>October 2022</a:t>
            </a:r>
            <a:br>
              <a:rPr lang="en-GB" sz="6600" b="1"/>
            </a:br>
            <a:r>
              <a:rPr lang="en-GB" sz="6600" b="1">
                <a:latin typeface="Arial"/>
                <a:cs typeface="Arial"/>
              </a:rPr>
              <a:t> </a:t>
            </a:r>
            <a:endParaRPr lang="en-GB" sz="6600" b="1"/>
          </a:p>
        </p:txBody>
      </p:sp>
    </p:spTree>
    <p:extLst>
      <p:ext uri="{BB962C8B-B14F-4D97-AF65-F5344CB8AC3E}">
        <p14:creationId xmlns:p14="http://schemas.microsoft.com/office/powerpoint/2010/main" val="3780442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11118F-28AE-4ADE-A61D-A38D83097C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b="1"/>
              <a:t>AA Global Language Services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D3AFF9-9B84-4A4B-BC97-F7E08B4B35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0206" y="1672084"/>
            <a:ext cx="11123857" cy="4351338"/>
          </a:xfrm>
        </p:spPr>
        <p:txBody>
          <a:bodyPr/>
          <a:lstStyle/>
          <a:p>
            <a:r>
              <a:rPr lang="en-GB" b="1"/>
              <a:t>Interpretation</a:t>
            </a:r>
            <a:r>
              <a:rPr lang="en-GB"/>
              <a:t> </a:t>
            </a:r>
          </a:p>
          <a:p>
            <a:pPr lvl="1"/>
            <a:r>
              <a:rPr lang="en-GB"/>
              <a:t>Face to Face </a:t>
            </a:r>
          </a:p>
          <a:p>
            <a:pPr lvl="1"/>
            <a:r>
              <a:rPr lang="en-GB"/>
              <a:t>Telephone</a:t>
            </a:r>
          </a:p>
          <a:p>
            <a:pPr lvl="1"/>
            <a:r>
              <a:rPr lang="en-GB"/>
              <a:t>British Sign Language </a:t>
            </a:r>
          </a:p>
          <a:p>
            <a:pPr lvl="1"/>
            <a:r>
              <a:rPr lang="en-GB"/>
              <a:t>Conference Interpreting </a:t>
            </a:r>
          </a:p>
          <a:p>
            <a:r>
              <a:rPr lang="en-GB" b="1"/>
              <a:t>Translations</a:t>
            </a:r>
            <a:r>
              <a:rPr lang="en-GB"/>
              <a:t> </a:t>
            </a:r>
          </a:p>
          <a:p>
            <a:pPr lvl="1"/>
            <a:r>
              <a:rPr lang="en-GB"/>
              <a:t>Document Translation &amp; Proofreading </a:t>
            </a:r>
          </a:p>
          <a:p>
            <a:pPr lvl="1"/>
            <a:r>
              <a:rPr lang="en-GB"/>
              <a:t>Website Translation </a:t>
            </a:r>
          </a:p>
          <a:p>
            <a:pPr lvl="1"/>
            <a:r>
              <a:rPr lang="en-GB"/>
              <a:t>Voiceover &amp; Subtitles </a:t>
            </a:r>
          </a:p>
          <a:p>
            <a:r>
              <a:rPr lang="en-GB" b="1"/>
              <a:t>Over 500 languages &amp; dialects </a:t>
            </a:r>
          </a:p>
          <a:p>
            <a:r>
              <a:rPr lang="en-GB" b="1"/>
              <a:t>Accessible Formats </a:t>
            </a:r>
            <a:r>
              <a:rPr lang="en-GB"/>
              <a:t>– Easy Read, Braille, Makaton</a:t>
            </a:r>
          </a:p>
        </p:txBody>
      </p:sp>
    </p:spTree>
    <p:extLst>
      <p:ext uri="{BB962C8B-B14F-4D97-AF65-F5344CB8AC3E}">
        <p14:creationId xmlns:p14="http://schemas.microsoft.com/office/powerpoint/2010/main" val="30963704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11118F-28AE-4ADE-A61D-A38D83097C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b="1">
                <a:latin typeface="Arial"/>
                <a:cs typeface="Arial"/>
              </a:rPr>
              <a:t>AA Global Translation Services UKHSA Alternative Formats &amp; Translation Proposed Workflow  DRAFT</a:t>
            </a:r>
            <a:endParaRPr lang="en-GB" sz="2800" b="1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E084127-87CC-4372-B2D0-37C438BA1C1E}"/>
              </a:ext>
            </a:extLst>
          </p:cNvPr>
          <p:cNvGrpSpPr/>
          <p:nvPr/>
        </p:nvGrpSpPr>
        <p:grpSpPr>
          <a:xfrm>
            <a:off x="298446" y="1774826"/>
            <a:ext cx="11595108" cy="3957749"/>
            <a:chOff x="506777" y="2738326"/>
            <a:chExt cx="11595108" cy="3957749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E210E9A1-2B38-4274-8C1C-EEAAF2CFAEC0}"/>
                </a:ext>
              </a:extLst>
            </p:cNvPr>
            <p:cNvSpPr/>
            <p:nvPr/>
          </p:nvSpPr>
          <p:spPr>
            <a:xfrm>
              <a:off x="506777" y="2738326"/>
              <a:ext cx="11595108" cy="3957749"/>
            </a:xfrm>
            <a:prstGeom prst="roundRect">
              <a:avLst>
                <a:gd name="adj" fmla="val 3675"/>
              </a:avLst>
            </a:prstGeom>
            <a:solidFill>
              <a:srgbClr val="007C91">
                <a:alpha val="1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11C2DF0A-BF6F-40BB-AF5A-C19648D43A3D}"/>
                </a:ext>
              </a:extLst>
            </p:cNvPr>
            <p:cNvGrpSpPr/>
            <p:nvPr/>
          </p:nvGrpSpPr>
          <p:grpSpPr>
            <a:xfrm>
              <a:off x="586287" y="2866198"/>
              <a:ext cx="1080000" cy="2606674"/>
              <a:chOff x="1058214" y="937350"/>
              <a:chExt cx="1080000" cy="2606674"/>
            </a:xfrm>
          </p:grpSpPr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20521E00-42D0-426B-AA22-D8A2726D2072}"/>
                  </a:ext>
                </a:extLst>
              </p:cNvPr>
              <p:cNvSpPr txBox="1"/>
              <p:nvPr/>
            </p:nvSpPr>
            <p:spPr>
              <a:xfrm>
                <a:off x="1058214" y="937350"/>
                <a:ext cx="1080000" cy="2606674"/>
              </a:xfrm>
              <a:prstGeom prst="roundRect">
                <a:avLst>
                  <a:gd name="adj" fmla="val 8829"/>
                </a:avLst>
              </a:prstGeom>
              <a:solidFill>
                <a:schemeClr val="bg1"/>
              </a:solidFill>
              <a:ln>
                <a:solidFill>
                  <a:srgbClr val="007C91"/>
                </a:solidFill>
              </a:ln>
            </p:spPr>
            <p:txBody>
              <a:bodyPr wrap="square" lIns="72000" tIns="108000" rIns="72000" bIns="108000" numCol="1" rtlCol="0" anchor="t">
                <a:spAutoFit/>
              </a:bodyPr>
              <a:lstStyle>
                <a:defPPr>
                  <a:defRPr lang="en-US"/>
                </a:defPPr>
                <a:lvl1pPr algn="ctr">
                  <a:defRPr sz="8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endParaRPr lang="en-US" b="0" i="1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r>
                  <a:rPr lang="en-US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Commissioner</a:t>
                </a:r>
                <a:r>
                  <a:rPr lang="en-US" b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 outlines goals, audience need, format, languages needed, size of work (word-count or attached originals), urgency/priority and any user research needed</a:t>
                </a:r>
              </a:p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r>
                  <a:rPr lang="en-US" b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This is to help with the quote and prioritisation</a:t>
                </a: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7D2C704F-96B7-47FC-AF3D-C5A52CEEA2E2}"/>
                  </a:ext>
                </a:extLst>
              </p:cNvPr>
              <p:cNvSpPr txBox="1"/>
              <p:nvPr/>
            </p:nvSpPr>
            <p:spPr>
              <a:xfrm>
                <a:off x="1058214" y="937350"/>
                <a:ext cx="1080000" cy="486784"/>
              </a:xfrm>
              <a:prstGeom prst="roundRect">
                <a:avLst>
                  <a:gd name="adj" fmla="val 8829"/>
                </a:avLst>
              </a:prstGeom>
              <a:solidFill>
                <a:srgbClr val="007C91"/>
              </a:solidFill>
              <a:ln>
                <a:solidFill>
                  <a:srgbClr val="007C91"/>
                </a:solidFill>
              </a:ln>
            </p:spPr>
            <p:txBody>
              <a:bodyPr wrap="square" lIns="72000" tIns="108000" rIns="72000" bIns="108000" numCol="1" rtlCol="0" anchor="t">
                <a:spAutoFit/>
              </a:bodyPr>
              <a:lstStyle>
                <a:defPPr>
                  <a:defRPr lang="en-US"/>
                </a:defPPr>
                <a:lvl1pPr algn="ctr">
                  <a:defRPr sz="8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US"/>
                  <a:t>Complete request form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ED7BFFC8-328B-4128-9233-FBD8C0ACA994}"/>
                </a:ext>
              </a:extLst>
            </p:cNvPr>
            <p:cNvGrpSpPr/>
            <p:nvPr/>
          </p:nvGrpSpPr>
          <p:grpSpPr>
            <a:xfrm>
              <a:off x="1877417" y="2874604"/>
              <a:ext cx="1080000" cy="1249532"/>
              <a:chOff x="1058214" y="937350"/>
              <a:chExt cx="1080000" cy="1249532"/>
            </a:xfrm>
          </p:grpSpPr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A294F19F-45B8-4809-A10F-AF00DDE5D463}"/>
                  </a:ext>
                </a:extLst>
              </p:cNvPr>
              <p:cNvSpPr txBox="1"/>
              <p:nvPr/>
            </p:nvSpPr>
            <p:spPr>
              <a:xfrm>
                <a:off x="1058214" y="937350"/>
                <a:ext cx="1080000" cy="1249532"/>
              </a:xfrm>
              <a:prstGeom prst="roundRect">
                <a:avLst>
                  <a:gd name="adj" fmla="val 8829"/>
                </a:avLst>
              </a:prstGeom>
              <a:solidFill>
                <a:schemeClr val="bg1"/>
              </a:solidFill>
              <a:ln>
                <a:solidFill>
                  <a:srgbClr val="D2A000"/>
                </a:solidFill>
              </a:ln>
            </p:spPr>
            <p:txBody>
              <a:bodyPr wrap="square" lIns="72000" tIns="108000" rIns="72000" bIns="108000" numCol="1" rtlCol="0" anchor="t">
                <a:spAutoFit/>
              </a:bodyPr>
              <a:lstStyle>
                <a:defPPr>
                  <a:defRPr lang="en-US"/>
                </a:defPPr>
                <a:lvl1pPr algn="ctr">
                  <a:defRPr sz="8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endParaRPr lang="en-US" b="0" i="1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endParaRPr lang="en-US" b="0" i="1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r>
                  <a:rPr lang="en-GB" sz="800">
                    <a:solidFill>
                      <a:schemeClr val="tx1">
                        <a:lumMod val="95000"/>
                        <a:lumOff val="5000"/>
                      </a:schemeClr>
                    </a:solidFill>
                  </a:rPr>
                  <a:t>Coordinator</a:t>
                </a:r>
                <a:r>
                  <a:rPr lang="en-GB" sz="800" b="0">
                    <a:solidFill>
                      <a:schemeClr val="tx1">
                        <a:lumMod val="95000"/>
                        <a:lumOff val="5000"/>
                      </a:schemeClr>
                    </a:solidFill>
                  </a:rPr>
                  <a:t> gets quote of turnaround time and (if external) cost</a:t>
                </a: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E72A6414-B3D4-4DB2-9A43-78382B66E3CF}"/>
                  </a:ext>
                </a:extLst>
              </p:cNvPr>
              <p:cNvSpPr txBox="1"/>
              <p:nvPr/>
            </p:nvSpPr>
            <p:spPr>
              <a:xfrm>
                <a:off x="1058214" y="937350"/>
                <a:ext cx="1080000" cy="357720"/>
              </a:xfrm>
              <a:prstGeom prst="roundRect">
                <a:avLst>
                  <a:gd name="adj" fmla="val 8829"/>
                </a:avLst>
              </a:prstGeom>
              <a:solidFill>
                <a:srgbClr val="D2A000"/>
              </a:solidFill>
              <a:ln>
                <a:solidFill>
                  <a:srgbClr val="D2A000"/>
                </a:solidFill>
              </a:ln>
            </p:spPr>
            <p:txBody>
              <a:bodyPr wrap="square" lIns="72000" tIns="108000" rIns="72000" bIns="108000" numCol="1" rtlCol="0" anchor="t">
                <a:spAutoFit/>
              </a:bodyPr>
              <a:lstStyle>
                <a:defPPr>
                  <a:defRPr lang="en-US"/>
                </a:defPPr>
                <a:lvl1pPr algn="ctr">
                  <a:defRPr sz="8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US"/>
                  <a:t>Obtain quote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CE03F85-0ADD-4ACC-98C1-8C77BB3CED80}"/>
                </a:ext>
              </a:extLst>
            </p:cNvPr>
            <p:cNvGrpSpPr/>
            <p:nvPr/>
          </p:nvGrpSpPr>
          <p:grpSpPr>
            <a:xfrm>
              <a:off x="5750807" y="2867819"/>
              <a:ext cx="1080000" cy="2481182"/>
              <a:chOff x="1058214" y="937350"/>
              <a:chExt cx="1080000" cy="2481182"/>
            </a:xfrm>
            <a:noFill/>
          </p:grpSpPr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38F140BD-0FAB-4B6B-9518-3097C671B303}"/>
                  </a:ext>
                </a:extLst>
              </p:cNvPr>
              <p:cNvSpPr txBox="1"/>
              <p:nvPr/>
            </p:nvSpPr>
            <p:spPr>
              <a:xfrm>
                <a:off x="1058214" y="937350"/>
                <a:ext cx="1080000" cy="2481182"/>
              </a:xfrm>
              <a:prstGeom prst="roundRect">
                <a:avLst>
                  <a:gd name="adj" fmla="val 8829"/>
                </a:avLst>
              </a:prstGeom>
              <a:solidFill>
                <a:schemeClr val="bg1"/>
              </a:solidFill>
              <a:ln>
                <a:solidFill>
                  <a:srgbClr val="002060"/>
                </a:solidFill>
              </a:ln>
            </p:spPr>
            <p:txBody>
              <a:bodyPr wrap="square" lIns="72000" tIns="108000" rIns="72000" bIns="108000" numCol="1" rtlCol="0" anchor="t">
                <a:spAutoFit/>
              </a:bodyPr>
              <a:lstStyle>
                <a:defPPr>
                  <a:defRPr lang="en-US"/>
                </a:defPPr>
                <a:lvl1pPr algn="ctr">
                  <a:defRPr sz="8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endParaRPr lang="en-US" b="0" i="1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r>
                  <a:rPr lang="en-US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Delivery team / supplier</a:t>
                </a:r>
                <a:r>
                  <a:rPr lang="en-US" b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 creates alternative formats, working with commissioner where appropriate</a:t>
                </a:r>
              </a:p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r>
                  <a:rPr lang="en-US" b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Ensure version control / numbering </a:t>
                </a:r>
              </a:p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r>
                  <a:rPr lang="en-US" b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Conduct user research if part of commission – alternatively may be done in-house</a:t>
                </a: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F5488EEC-5D2A-4FB3-9095-04D89BE7EF6C}"/>
                  </a:ext>
                </a:extLst>
              </p:cNvPr>
              <p:cNvSpPr txBox="1"/>
              <p:nvPr/>
            </p:nvSpPr>
            <p:spPr>
              <a:xfrm>
                <a:off x="1058214" y="937350"/>
                <a:ext cx="1080000" cy="357720"/>
              </a:xfrm>
              <a:prstGeom prst="roundRect">
                <a:avLst>
                  <a:gd name="adj" fmla="val 8829"/>
                </a:avLst>
              </a:prstGeom>
              <a:solidFill>
                <a:srgbClr val="002060"/>
              </a:solidFill>
              <a:ln>
                <a:solidFill>
                  <a:srgbClr val="002060"/>
                </a:solidFill>
              </a:ln>
            </p:spPr>
            <p:txBody>
              <a:bodyPr wrap="square" lIns="72000" tIns="108000" rIns="72000" bIns="108000" numCol="1" rtlCol="0" anchor="t">
                <a:spAutoFit/>
              </a:bodyPr>
              <a:lstStyle>
                <a:defPPr>
                  <a:defRPr lang="en-US"/>
                </a:defPPr>
                <a:lvl1pPr algn="ctr">
                  <a:defRPr sz="8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US"/>
                  <a:t>Production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DF035944-6F58-47D3-AE60-D2247E8DD7AB}"/>
                </a:ext>
              </a:extLst>
            </p:cNvPr>
            <p:cNvGrpSpPr/>
            <p:nvPr/>
          </p:nvGrpSpPr>
          <p:grpSpPr>
            <a:xfrm>
              <a:off x="7041937" y="2874604"/>
              <a:ext cx="1080000" cy="3327750"/>
              <a:chOff x="1058214" y="937350"/>
              <a:chExt cx="1080000" cy="3327750"/>
            </a:xfrm>
          </p:grpSpPr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398340D4-56F0-417F-A49B-D0C8A0FDD0EA}"/>
                  </a:ext>
                </a:extLst>
              </p:cNvPr>
              <p:cNvSpPr txBox="1"/>
              <p:nvPr/>
            </p:nvSpPr>
            <p:spPr>
              <a:xfrm>
                <a:off x="1058214" y="937350"/>
                <a:ext cx="1080000" cy="3327750"/>
              </a:xfrm>
              <a:prstGeom prst="roundRect">
                <a:avLst>
                  <a:gd name="adj" fmla="val 8829"/>
                </a:avLst>
              </a:prstGeom>
              <a:solidFill>
                <a:schemeClr val="bg1"/>
              </a:solidFill>
              <a:ln>
                <a:solidFill>
                  <a:srgbClr val="007C91"/>
                </a:solidFill>
              </a:ln>
            </p:spPr>
            <p:txBody>
              <a:bodyPr wrap="square" lIns="72000" tIns="108000" rIns="72000" bIns="108000" numCol="1" rtlCol="0" anchor="t">
                <a:spAutoFit/>
              </a:bodyPr>
              <a:lstStyle>
                <a:defPPr>
                  <a:defRPr lang="en-US"/>
                </a:defPPr>
                <a:lvl1pPr algn="ctr">
                  <a:defRPr sz="8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endParaRPr lang="en-US" b="0" i="1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r>
                  <a:rPr lang="en-US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Commissioner </a:t>
                </a:r>
                <a:r>
                  <a:rPr lang="en-US" b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reviews drafts – for example checking layout, PDF accessibility, or getting translations independently verified (</a:t>
                </a:r>
                <a:r>
                  <a:rPr lang="en-US" b="0" err="1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eg</a:t>
                </a:r>
                <a:r>
                  <a:rPr lang="en-US" b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 with Welsh Gov or with charity partners)</a:t>
                </a:r>
              </a:p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r>
                  <a:rPr lang="en-US" b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Depending on content may require additional  approval (</a:t>
                </a:r>
                <a:r>
                  <a:rPr lang="en-US" b="0" err="1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eg</a:t>
                </a:r>
                <a:r>
                  <a:rPr lang="en-US" b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 PHCO, legal, regulatory)</a:t>
                </a:r>
              </a:p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r>
                  <a:rPr lang="en-US" b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May work with </a:t>
                </a:r>
                <a:r>
                  <a:rPr lang="en-US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delivery team / supplier</a:t>
                </a:r>
                <a:r>
                  <a:rPr lang="en-US" b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 on amends </a:t>
                </a: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70E451A3-7CDE-4A81-B166-DB5A7863EB16}"/>
                  </a:ext>
                </a:extLst>
              </p:cNvPr>
              <p:cNvSpPr txBox="1"/>
              <p:nvPr/>
            </p:nvSpPr>
            <p:spPr>
              <a:xfrm>
                <a:off x="1058214" y="937350"/>
                <a:ext cx="1080000" cy="357720"/>
              </a:xfrm>
              <a:prstGeom prst="roundRect">
                <a:avLst>
                  <a:gd name="adj" fmla="val 8829"/>
                </a:avLst>
              </a:prstGeom>
              <a:solidFill>
                <a:srgbClr val="007C91"/>
              </a:solidFill>
              <a:ln>
                <a:solidFill>
                  <a:srgbClr val="007C91"/>
                </a:solidFill>
              </a:ln>
            </p:spPr>
            <p:txBody>
              <a:bodyPr wrap="square" lIns="72000" tIns="108000" rIns="72000" bIns="108000" numCol="1" rtlCol="0" anchor="t">
                <a:spAutoFit/>
              </a:bodyPr>
              <a:lstStyle>
                <a:defPPr>
                  <a:defRPr lang="en-US"/>
                </a:defPPr>
                <a:lvl1pPr algn="ctr">
                  <a:defRPr sz="8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US"/>
                  <a:t>QA / approvals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979CCBC-E07B-4B8E-B0D2-29B071E8A16E}"/>
                </a:ext>
              </a:extLst>
            </p:cNvPr>
            <p:cNvGrpSpPr/>
            <p:nvPr/>
          </p:nvGrpSpPr>
          <p:grpSpPr>
            <a:xfrm>
              <a:off x="8333067" y="2874604"/>
              <a:ext cx="1080000" cy="1617945"/>
              <a:chOff x="1058214" y="937350"/>
              <a:chExt cx="1080000" cy="1617945"/>
            </a:xfrm>
          </p:grpSpPr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C34306D5-F106-4660-97C7-CFF66EFA900C}"/>
                  </a:ext>
                </a:extLst>
              </p:cNvPr>
              <p:cNvSpPr txBox="1"/>
              <p:nvPr/>
            </p:nvSpPr>
            <p:spPr>
              <a:xfrm>
                <a:off x="1058214" y="937350"/>
                <a:ext cx="1080000" cy="1617945"/>
              </a:xfrm>
              <a:prstGeom prst="roundRect">
                <a:avLst>
                  <a:gd name="adj" fmla="val 8829"/>
                </a:avLst>
              </a:prstGeom>
              <a:solidFill>
                <a:schemeClr val="bg1"/>
              </a:solidFill>
              <a:ln>
                <a:solidFill>
                  <a:srgbClr val="007C91"/>
                </a:solidFill>
              </a:ln>
            </p:spPr>
            <p:txBody>
              <a:bodyPr wrap="square" lIns="72000" tIns="108000" rIns="72000" bIns="108000" numCol="1" rtlCol="0" anchor="t">
                <a:spAutoFit/>
              </a:bodyPr>
              <a:lstStyle>
                <a:defPPr>
                  <a:defRPr lang="en-US"/>
                </a:defPPr>
                <a:lvl1pPr algn="ctr">
                  <a:defRPr sz="8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endParaRPr lang="en-US" b="0" i="1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r>
                  <a:rPr lang="en-US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Commissioner </a:t>
                </a:r>
                <a:r>
                  <a:rPr lang="en-US" b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stores new source files, print files and translation certificates (if relevant) in UKHSA Sharepoint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F38EB2AF-E91C-4046-9494-51B064DD007A}"/>
                  </a:ext>
                </a:extLst>
              </p:cNvPr>
              <p:cNvSpPr txBox="1"/>
              <p:nvPr/>
            </p:nvSpPr>
            <p:spPr>
              <a:xfrm>
                <a:off x="1058214" y="937350"/>
                <a:ext cx="1080000" cy="486784"/>
              </a:xfrm>
              <a:prstGeom prst="roundRect">
                <a:avLst>
                  <a:gd name="adj" fmla="val 8829"/>
                </a:avLst>
              </a:prstGeom>
              <a:solidFill>
                <a:srgbClr val="007C91"/>
              </a:solidFill>
              <a:ln>
                <a:solidFill>
                  <a:srgbClr val="007C91"/>
                </a:solidFill>
              </a:ln>
            </p:spPr>
            <p:txBody>
              <a:bodyPr wrap="square" lIns="72000" tIns="108000" rIns="72000" bIns="108000" numCol="1" rtlCol="0" anchor="t">
                <a:spAutoFit/>
              </a:bodyPr>
              <a:lstStyle>
                <a:defPPr>
                  <a:defRPr lang="en-US"/>
                </a:defPPr>
                <a:lvl1pPr algn="ctr">
                  <a:defRPr sz="8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US"/>
                  <a:t>Receive final versions</a:t>
                </a: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0C4F336-6A65-410B-9090-B24E3CCC1B76}"/>
                </a:ext>
              </a:extLst>
            </p:cNvPr>
            <p:cNvGrpSpPr/>
            <p:nvPr/>
          </p:nvGrpSpPr>
          <p:grpSpPr>
            <a:xfrm>
              <a:off x="9624197" y="2874604"/>
              <a:ext cx="1080000" cy="1979214"/>
              <a:chOff x="1058214" y="937350"/>
              <a:chExt cx="1080000" cy="1979214"/>
            </a:xfrm>
          </p:grpSpPr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AE0509AC-3D56-439D-9096-AA7C5319354B}"/>
                  </a:ext>
                </a:extLst>
              </p:cNvPr>
              <p:cNvSpPr txBox="1"/>
              <p:nvPr/>
            </p:nvSpPr>
            <p:spPr>
              <a:xfrm>
                <a:off x="1058214" y="937350"/>
                <a:ext cx="1080000" cy="1979214"/>
              </a:xfrm>
              <a:prstGeom prst="roundRect">
                <a:avLst>
                  <a:gd name="adj" fmla="val 8829"/>
                </a:avLst>
              </a:prstGeom>
              <a:solidFill>
                <a:schemeClr val="bg1"/>
              </a:solidFill>
              <a:ln>
                <a:solidFill>
                  <a:srgbClr val="007C91"/>
                </a:solidFill>
              </a:ln>
            </p:spPr>
            <p:txBody>
              <a:bodyPr wrap="square" lIns="72000" tIns="108000" rIns="72000" bIns="108000" numCol="1" rtlCol="0" anchor="t">
                <a:spAutoFit/>
              </a:bodyPr>
              <a:lstStyle>
                <a:defPPr>
                  <a:defRPr lang="en-US"/>
                </a:defPPr>
                <a:lvl1pPr algn="ctr">
                  <a:defRPr sz="8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endParaRPr lang="en-US" b="0" i="1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r>
                  <a:rPr lang="en-US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Commissioner</a:t>
                </a:r>
                <a:r>
                  <a:rPr lang="en-US" b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 sends final content  to appropriate team: Publishing team (via content designer), social media team, or direct to partner organization (RNIB)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C367E997-0CA5-4654-8BC1-D4EE5CB5A1F0}"/>
                  </a:ext>
                </a:extLst>
              </p:cNvPr>
              <p:cNvSpPr txBox="1"/>
              <p:nvPr/>
            </p:nvSpPr>
            <p:spPr>
              <a:xfrm>
                <a:off x="1058214" y="937350"/>
                <a:ext cx="1080000" cy="486784"/>
              </a:xfrm>
              <a:prstGeom prst="roundRect">
                <a:avLst>
                  <a:gd name="adj" fmla="val 8829"/>
                </a:avLst>
              </a:prstGeom>
              <a:solidFill>
                <a:srgbClr val="007C91"/>
              </a:solidFill>
              <a:ln>
                <a:solidFill>
                  <a:srgbClr val="007C91"/>
                </a:solidFill>
              </a:ln>
            </p:spPr>
            <p:txBody>
              <a:bodyPr wrap="square" lIns="72000" tIns="108000" rIns="72000" bIns="108000" numCol="1" rtlCol="0" anchor="t">
                <a:spAutoFit/>
              </a:bodyPr>
              <a:lstStyle>
                <a:defPPr>
                  <a:defRPr lang="en-US"/>
                </a:defPPr>
                <a:lvl1pPr algn="ctr">
                  <a:defRPr sz="8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US"/>
                  <a:t>Send for publishing</a:t>
                </a: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764C65A2-2563-4691-9B32-CDAFF226D172}"/>
                </a:ext>
              </a:extLst>
            </p:cNvPr>
            <p:cNvGrpSpPr/>
            <p:nvPr/>
          </p:nvGrpSpPr>
          <p:grpSpPr>
            <a:xfrm>
              <a:off x="9620069" y="4939792"/>
              <a:ext cx="1080000" cy="1617945"/>
              <a:chOff x="1058214" y="937350"/>
              <a:chExt cx="1080000" cy="1617945"/>
            </a:xfrm>
          </p:grpSpPr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28033601-B081-4B19-9186-CF563B848079}"/>
                  </a:ext>
                </a:extLst>
              </p:cNvPr>
              <p:cNvSpPr txBox="1"/>
              <p:nvPr/>
            </p:nvSpPr>
            <p:spPr>
              <a:xfrm>
                <a:off x="1058214" y="937350"/>
                <a:ext cx="1080000" cy="1617945"/>
              </a:xfrm>
              <a:prstGeom prst="roundRect">
                <a:avLst>
                  <a:gd name="adj" fmla="val 8829"/>
                </a:avLst>
              </a:prstGeom>
              <a:solidFill>
                <a:schemeClr val="bg1"/>
              </a:solidFill>
              <a:ln>
                <a:solidFill>
                  <a:srgbClr val="D2A000"/>
                </a:solidFill>
              </a:ln>
            </p:spPr>
            <p:txBody>
              <a:bodyPr wrap="square" lIns="72000" tIns="108000" rIns="72000" bIns="108000" numCol="1" rtlCol="0" anchor="t">
                <a:spAutoFit/>
              </a:bodyPr>
              <a:lstStyle>
                <a:defPPr>
                  <a:defRPr lang="en-US"/>
                </a:defPPr>
                <a:lvl1pPr algn="ctr">
                  <a:defRPr sz="8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endParaRPr lang="en-US" b="0" i="1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r>
                  <a:rPr lang="en-US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Coordinator</a:t>
                </a:r>
                <a:r>
                  <a:rPr lang="en-US" b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 checks invoice against tracker, and with commissioner</a:t>
                </a:r>
              </a:p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r>
                  <a:rPr lang="en-US" b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Approves for payment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79EE72F9-1D12-40C0-8180-D5623C6EC414}"/>
                  </a:ext>
                </a:extLst>
              </p:cNvPr>
              <p:cNvSpPr txBox="1"/>
              <p:nvPr/>
            </p:nvSpPr>
            <p:spPr>
              <a:xfrm>
                <a:off x="1058214" y="937350"/>
                <a:ext cx="1080000" cy="357720"/>
              </a:xfrm>
              <a:prstGeom prst="roundRect">
                <a:avLst>
                  <a:gd name="adj" fmla="val 8829"/>
                </a:avLst>
              </a:prstGeom>
              <a:solidFill>
                <a:srgbClr val="D2A000"/>
              </a:solidFill>
              <a:ln>
                <a:solidFill>
                  <a:srgbClr val="D2A000"/>
                </a:solidFill>
              </a:ln>
            </p:spPr>
            <p:txBody>
              <a:bodyPr wrap="square" lIns="72000" tIns="108000" rIns="72000" bIns="108000" numCol="1" rtlCol="0" anchor="t">
                <a:spAutoFit/>
              </a:bodyPr>
              <a:lstStyle>
                <a:defPPr>
                  <a:defRPr lang="en-US"/>
                </a:defPPr>
                <a:lvl1pPr algn="ctr">
                  <a:defRPr sz="8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US"/>
                  <a:t>Invoice</a:t>
                </a: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0630A186-CA93-4E68-907C-992333CF9757}"/>
                </a:ext>
              </a:extLst>
            </p:cNvPr>
            <p:cNvGrpSpPr/>
            <p:nvPr/>
          </p:nvGrpSpPr>
          <p:grpSpPr>
            <a:xfrm>
              <a:off x="4459677" y="2874604"/>
              <a:ext cx="1080000" cy="2104706"/>
              <a:chOff x="1058214" y="937350"/>
              <a:chExt cx="1080000" cy="2104706"/>
            </a:xfrm>
          </p:grpSpPr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9137E209-A355-4A6C-A4C3-2DBFDCBEC341}"/>
                  </a:ext>
                </a:extLst>
              </p:cNvPr>
              <p:cNvSpPr txBox="1"/>
              <p:nvPr/>
            </p:nvSpPr>
            <p:spPr>
              <a:xfrm>
                <a:off x="1058214" y="937350"/>
                <a:ext cx="1080000" cy="2104706"/>
              </a:xfrm>
              <a:prstGeom prst="roundRect">
                <a:avLst>
                  <a:gd name="adj" fmla="val 8829"/>
                </a:avLst>
              </a:prstGeom>
              <a:solidFill>
                <a:schemeClr val="bg1"/>
              </a:solidFill>
              <a:ln>
                <a:solidFill>
                  <a:srgbClr val="007C91"/>
                </a:solidFill>
              </a:ln>
            </p:spPr>
            <p:txBody>
              <a:bodyPr wrap="square" lIns="72000" tIns="108000" rIns="72000" bIns="108000" numCol="1" rtlCol="0" anchor="t">
                <a:spAutoFit/>
              </a:bodyPr>
              <a:lstStyle>
                <a:defPPr>
                  <a:defRPr lang="en-US"/>
                </a:defPPr>
                <a:lvl1pPr algn="ctr">
                  <a:defRPr sz="8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endParaRPr lang="en-US" b="0" i="1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r>
                  <a:rPr lang="en-US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Commissioner </a:t>
                </a:r>
                <a:r>
                  <a:rPr lang="en-US" b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sends content / relevant files, additional requirements, UKHSA commissioning best practice / use exemplar brief </a:t>
                </a:r>
              </a:p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r>
                  <a:rPr lang="en-US" b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(via or cc’ing coordinator)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1FF7984F-3454-47C2-A60E-3463DCE2E9AA}"/>
                  </a:ext>
                </a:extLst>
              </p:cNvPr>
              <p:cNvSpPr txBox="1"/>
              <p:nvPr/>
            </p:nvSpPr>
            <p:spPr>
              <a:xfrm>
                <a:off x="1058214" y="937350"/>
                <a:ext cx="1080000" cy="357720"/>
              </a:xfrm>
              <a:prstGeom prst="roundRect">
                <a:avLst>
                  <a:gd name="adj" fmla="val 8829"/>
                </a:avLst>
              </a:prstGeom>
              <a:solidFill>
                <a:srgbClr val="007C91"/>
              </a:solidFill>
              <a:ln>
                <a:solidFill>
                  <a:srgbClr val="007C91"/>
                </a:solidFill>
              </a:ln>
            </p:spPr>
            <p:txBody>
              <a:bodyPr wrap="square" lIns="72000" tIns="108000" rIns="72000" bIns="108000" numCol="1" rtlCol="0" anchor="t">
                <a:spAutoFit/>
              </a:bodyPr>
              <a:lstStyle>
                <a:defPPr>
                  <a:defRPr lang="en-US"/>
                </a:defPPr>
                <a:lvl1pPr algn="ctr">
                  <a:defRPr sz="8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US"/>
                  <a:t>Commission</a:t>
                </a:r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ADABBEE-6E24-4BDE-902C-8769563DB15F}"/>
                </a:ext>
              </a:extLst>
            </p:cNvPr>
            <p:cNvSpPr txBox="1"/>
            <p:nvPr/>
          </p:nvSpPr>
          <p:spPr>
            <a:xfrm>
              <a:off x="4455903" y="5066239"/>
              <a:ext cx="1080000" cy="615848"/>
            </a:xfrm>
            <a:prstGeom prst="roundRect">
              <a:avLst>
                <a:gd name="adj" fmla="val 8829"/>
              </a:avLst>
            </a:prstGeom>
            <a:solidFill>
              <a:srgbClr val="D2A000"/>
            </a:solidFill>
            <a:ln>
              <a:solidFill>
                <a:srgbClr val="D2A000"/>
              </a:solidFill>
            </a:ln>
          </p:spPr>
          <p:txBody>
            <a:bodyPr wrap="square" lIns="72000" tIns="108000" rIns="72000" bIns="108000" numCol="1" rtlCol="0" anchor="t">
              <a:spAutoFit/>
            </a:bodyPr>
            <a:lstStyle>
              <a:defPPr>
                <a:defRPr lang="en-US"/>
              </a:defPPr>
              <a:lvl1pPr algn="ctr">
                <a:defRPr sz="8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/>
                <a:t>Coordinator records work on tracker</a:t>
              </a: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B6B482D-B2BD-4043-8204-F2FBAD75807D}"/>
                </a:ext>
              </a:extLst>
            </p:cNvPr>
            <p:cNvGrpSpPr/>
            <p:nvPr/>
          </p:nvGrpSpPr>
          <p:grpSpPr>
            <a:xfrm>
              <a:off x="3168547" y="3966724"/>
              <a:ext cx="1080000" cy="486784"/>
              <a:chOff x="1058214" y="937350"/>
              <a:chExt cx="1080000" cy="486784"/>
            </a:xfrm>
          </p:grpSpPr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5353739C-3CAC-4421-9830-40835ECF3785}"/>
                  </a:ext>
                </a:extLst>
              </p:cNvPr>
              <p:cNvSpPr txBox="1"/>
              <p:nvPr/>
            </p:nvSpPr>
            <p:spPr>
              <a:xfrm>
                <a:off x="1058214" y="937350"/>
                <a:ext cx="1080000" cy="357720"/>
              </a:xfrm>
              <a:prstGeom prst="roundRect">
                <a:avLst>
                  <a:gd name="adj" fmla="val 8829"/>
                </a:avLst>
              </a:prstGeom>
              <a:solidFill>
                <a:schemeClr val="bg1"/>
              </a:solidFill>
              <a:ln>
                <a:solidFill>
                  <a:srgbClr val="D2A000"/>
                </a:solidFill>
              </a:ln>
            </p:spPr>
            <p:txBody>
              <a:bodyPr wrap="square" lIns="72000" tIns="108000" rIns="72000" bIns="108000" numCol="1" rtlCol="0" anchor="t">
                <a:spAutoFit/>
              </a:bodyPr>
              <a:lstStyle>
                <a:defPPr>
                  <a:defRPr lang="en-US"/>
                </a:defPPr>
                <a:lvl1pPr algn="ctr">
                  <a:defRPr sz="8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B8DE270A-56D2-48C2-BC1F-95161771ACD0}"/>
                  </a:ext>
                </a:extLst>
              </p:cNvPr>
              <p:cNvSpPr txBox="1"/>
              <p:nvPr/>
            </p:nvSpPr>
            <p:spPr>
              <a:xfrm>
                <a:off x="1058214" y="937350"/>
                <a:ext cx="1080000" cy="486784"/>
              </a:xfrm>
              <a:prstGeom prst="roundRect">
                <a:avLst>
                  <a:gd name="adj" fmla="val 8829"/>
                </a:avLst>
              </a:prstGeom>
              <a:solidFill>
                <a:srgbClr val="D2A000"/>
              </a:solidFill>
              <a:ln>
                <a:solidFill>
                  <a:srgbClr val="D2A000"/>
                </a:solidFill>
              </a:ln>
            </p:spPr>
            <p:txBody>
              <a:bodyPr wrap="square" lIns="72000" tIns="108000" rIns="72000" bIns="108000" numCol="1" rtlCol="0" anchor="t">
                <a:spAutoFit/>
              </a:bodyPr>
              <a:lstStyle>
                <a:defPPr>
                  <a:defRPr lang="en-US"/>
                </a:defPPr>
                <a:lvl1pPr algn="ctr">
                  <a:defRPr sz="8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US"/>
                  <a:t>Coordinator Checks budget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7C70FD38-B3D9-4470-8185-B0EDD47EFE65}"/>
                </a:ext>
              </a:extLst>
            </p:cNvPr>
            <p:cNvGrpSpPr/>
            <p:nvPr/>
          </p:nvGrpSpPr>
          <p:grpSpPr>
            <a:xfrm>
              <a:off x="3168547" y="2872811"/>
              <a:ext cx="1080000" cy="1003039"/>
              <a:chOff x="1058214" y="937350"/>
              <a:chExt cx="1080000" cy="1003039"/>
            </a:xfrm>
          </p:grpSpPr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6E16F050-14D5-4DCE-803D-AA11871DA300}"/>
                  </a:ext>
                </a:extLst>
              </p:cNvPr>
              <p:cNvSpPr txBox="1"/>
              <p:nvPr/>
            </p:nvSpPr>
            <p:spPr>
              <a:xfrm>
                <a:off x="1058214" y="937350"/>
                <a:ext cx="1080000" cy="1003039"/>
              </a:xfrm>
              <a:prstGeom prst="roundRect">
                <a:avLst>
                  <a:gd name="adj" fmla="val 8829"/>
                </a:avLst>
              </a:prstGeom>
              <a:solidFill>
                <a:schemeClr val="bg1"/>
              </a:solidFill>
              <a:ln>
                <a:solidFill>
                  <a:srgbClr val="007C91"/>
                </a:solidFill>
              </a:ln>
            </p:spPr>
            <p:txBody>
              <a:bodyPr wrap="square" lIns="72000" tIns="108000" rIns="72000" bIns="108000" numCol="1" rtlCol="0" anchor="t">
                <a:spAutoFit/>
              </a:bodyPr>
              <a:lstStyle>
                <a:defPPr>
                  <a:defRPr lang="en-US"/>
                </a:defPPr>
                <a:lvl1pPr algn="ctr">
                  <a:defRPr sz="8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endParaRPr lang="en-US" b="0" i="1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r>
                  <a:rPr lang="en-US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Commissioner</a:t>
                </a:r>
                <a:r>
                  <a:rPr lang="en-US" b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 may renegotiate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5C8C6F3D-4E97-4B9B-91F4-6C100767AD74}"/>
                  </a:ext>
                </a:extLst>
              </p:cNvPr>
              <p:cNvSpPr txBox="1"/>
              <p:nvPr/>
            </p:nvSpPr>
            <p:spPr>
              <a:xfrm>
                <a:off x="1058214" y="937350"/>
                <a:ext cx="1080000" cy="486784"/>
              </a:xfrm>
              <a:prstGeom prst="roundRect">
                <a:avLst>
                  <a:gd name="adj" fmla="val 8829"/>
                </a:avLst>
              </a:prstGeom>
              <a:solidFill>
                <a:srgbClr val="007C91"/>
              </a:solidFill>
              <a:ln>
                <a:solidFill>
                  <a:srgbClr val="007C91"/>
                </a:solidFill>
              </a:ln>
            </p:spPr>
            <p:txBody>
              <a:bodyPr wrap="square" lIns="72000" tIns="108000" rIns="72000" bIns="108000" numCol="1" rtlCol="0" anchor="t">
                <a:spAutoFit/>
              </a:bodyPr>
              <a:lstStyle>
                <a:defPPr>
                  <a:defRPr lang="en-US"/>
                </a:defPPr>
                <a:lvl1pPr algn="ctr">
                  <a:defRPr sz="8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US"/>
                  <a:t>Check timings are appropriate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57B414D-AD4A-490F-A36E-9A6A1ED9BDE0}"/>
                </a:ext>
              </a:extLst>
            </p:cNvPr>
            <p:cNvGrpSpPr/>
            <p:nvPr/>
          </p:nvGrpSpPr>
          <p:grpSpPr>
            <a:xfrm>
              <a:off x="10915327" y="2874604"/>
              <a:ext cx="1080000" cy="2104706"/>
              <a:chOff x="1058214" y="937350"/>
              <a:chExt cx="1080000" cy="2104706"/>
            </a:xfrm>
          </p:grpSpPr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C928D1AA-0831-44CB-A450-BFF40247EB09}"/>
                  </a:ext>
                </a:extLst>
              </p:cNvPr>
              <p:cNvSpPr txBox="1"/>
              <p:nvPr/>
            </p:nvSpPr>
            <p:spPr>
              <a:xfrm>
                <a:off x="1058214" y="937350"/>
                <a:ext cx="1080000" cy="2104706"/>
              </a:xfrm>
              <a:prstGeom prst="roundRect">
                <a:avLst>
                  <a:gd name="adj" fmla="val 8829"/>
                </a:avLst>
              </a:prstGeom>
              <a:solidFill>
                <a:schemeClr val="bg1"/>
              </a:solidFill>
              <a:ln>
                <a:solidFill>
                  <a:srgbClr val="007C91"/>
                </a:solidFill>
              </a:ln>
            </p:spPr>
            <p:txBody>
              <a:bodyPr wrap="square" lIns="72000" tIns="108000" rIns="72000" bIns="108000" numCol="1" rtlCol="0" anchor="t">
                <a:spAutoFit/>
              </a:bodyPr>
              <a:lstStyle>
                <a:defPPr>
                  <a:defRPr lang="en-US"/>
                </a:defPPr>
                <a:lvl1pPr algn="ctr">
                  <a:defRPr sz="8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endParaRPr lang="en-US" b="0" i="1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r>
                  <a:rPr lang="en-US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Commissioner </a:t>
                </a:r>
                <a:r>
                  <a:rPr lang="en-US" b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requests and reviews analytics of created content </a:t>
                </a:r>
              </a:p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r>
                  <a:rPr lang="en-US" b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Reviews any ad-hoc feedback</a:t>
                </a:r>
              </a:p>
              <a:p>
                <a:endParaRPr lang="en-US" b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r>
                  <a:rPr lang="en-US" b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Commissions user researcher to measure impact of content</a:t>
                </a: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9BE8C46C-C216-40FD-AB42-D4354B017514}"/>
                  </a:ext>
                </a:extLst>
              </p:cNvPr>
              <p:cNvSpPr txBox="1"/>
              <p:nvPr/>
            </p:nvSpPr>
            <p:spPr>
              <a:xfrm>
                <a:off x="1058214" y="937350"/>
                <a:ext cx="1080000" cy="357720"/>
              </a:xfrm>
              <a:prstGeom prst="roundRect">
                <a:avLst>
                  <a:gd name="adj" fmla="val 8829"/>
                </a:avLst>
              </a:prstGeom>
              <a:solidFill>
                <a:srgbClr val="007C91"/>
              </a:solidFill>
              <a:ln>
                <a:solidFill>
                  <a:srgbClr val="007C91"/>
                </a:solidFill>
              </a:ln>
            </p:spPr>
            <p:txBody>
              <a:bodyPr wrap="square" lIns="72000" tIns="108000" rIns="72000" bIns="108000" numCol="1" rtlCol="0" anchor="t">
                <a:spAutoFit/>
              </a:bodyPr>
              <a:lstStyle>
                <a:defPPr>
                  <a:defRPr lang="en-US"/>
                </a:defPPr>
                <a:lvl1pPr algn="ctr">
                  <a:defRPr sz="8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en-US"/>
                  <a:t>Review impact</a:t>
                </a:r>
              </a:p>
            </p:txBody>
          </p:sp>
        </p:grpSp>
        <p:pic>
          <p:nvPicPr>
            <p:cNvPr id="20" name="Graphic 19" descr="Caret Down with solid fill">
              <a:extLst>
                <a:ext uri="{FF2B5EF4-FFF2-40B4-BE49-F238E27FC236}">
                  <a16:creationId xmlns:a16="http://schemas.microsoft.com/office/drawing/2014/main" id="{95E2C86D-F695-40D7-8165-BBCE6485366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16200000">
              <a:off x="1677242" y="2961796"/>
              <a:ext cx="200175" cy="200175"/>
            </a:xfrm>
            <a:prstGeom prst="rect">
              <a:avLst/>
            </a:prstGeom>
          </p:spPr>
        </p:pic>
        <p:pic>
          <p:nvPicPr>
            <p:cNvPr id="21" name="Graphic 20" descr="Caret Down with solid fill">
              <a:extLst>
                <a:ext uri="{FF2B5EF4-FFF2-40B4-BE49-F238E27FC236}">
                  <a16:creationId xmlns:a16="http://schemas.microsoft.com/office/drawing/2014/main" id="{2257FEC7-E3E9-4AB2-B210-32C8986D48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16200000">
              <a:off x="2967684" y="2961796"/>
              <a:ext cx="200175" cy="200175"/>
            </a:xfrm>
            <a:prstGeom prst="rect">
              <a:avLst/>
            </a:prstGeom>
          </p:spPr>
        </p:pic>
        <p:pic>
          <p:nvPicPr>
            <p:cNvPr id="22" name="Graphic 21" descr="Caret Down with solid fill">
              <a:extLst>
                <a:ext uri="{FF2B5EF4-FFF2-40B4-BE49-F238E27FC236}">
                  <a16:creationId xmlns:a16="http://schemas.microsoft.com/office/drawing/2014/main" id="{6A2133D2-A5B3-41FF-9B11-5EEE5E4DFB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16200000">
              <a:off x="4258126" y="2961795"/>
              <a:ext cx="200175" cy="200175"/>
            </a:xfrm>
            <a:prstGeom prst="rect">
              <a:avLst/>
            </a:prstGeom>
          </p:spPr>
        </p:pic>
        <p:pic>
          <p:nvPicPr>
            <p:cNvPr id="23" name="Graphic 22" descr="Caret Down with solid fill">
              <a:extLst>
                <a:ext uri="{FF2B5EF4-FFF2-40B4-BE49-F238E27FC236}">
                  <a16:creationId xmlns:a16="http://schemas.microsoft.com/office/drawing/2014/main" id="{A20BFD86-7E7F-4A40-B0AB-27BAE50B787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16200000">
              <a:off x="5548568" y="2961795"/>
              <a:ext cx="200175" cy="200175"/>
            </a:xfrm>
            <a:prstGeom prst="rect">
              <a:avLst/>
            </a:prstGeom>
          </p:spPr>
        </p:pic>
        <p:pic>
          <p:nvPicPr>
            <p:cNvPr id="24" name="Graphic 23" descr="Caret Down with solid fill">
              <a:extLst>
                <a:ext uri="{FF2B5EF4-FFF2-40B4-BE49-F238E27FC236}">
                  <a16:creationId xmlns:a16="http://schemas.microsoft.com/office/drawing/2014/main" id="{0BE5A54E-AC01-4E58-9534-50406B3F531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16200000">
              <a:off x="6839010" y="2961795"/>
              <a:ext cx="200175" cy="200175"/>
            </a:xfrm>
            <a:prstGeom prst="rect">
              <a:avLst/>
            </a:prstGeom>
          </p:spPr>
        </p:pic>
        <p:pic>
          <p:nvPicPr>
            <p:cNvPr id="25" name="Graphic 24" descr="Caret Down with solid fill">
              <a:extLst>
                <a:ext uri="{FF2B5EF4-FFF2-40B4-BE49-F238E27FC236}">
                  <a16:creationId xmlns:a16="http://schemas.microsoft.com/office/drawing/2014/main" id="{A79D1294-4641-4415-BF3C-560F909CD46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16200000">
              <a:off x="8129452" y="2961795"/>
              <a:ext cx="200175" cy="200175"/>
            </a:xfrm>
            <a:prstGeom prst="rect">
              <a:avLst/>
            </a:prstGeom>
          </p:spPr>
        </p:pic>
        <p:pic>
          <p:nvPicPr>
            <p:cNvPr id="26" name="Graphic 25" descr="Caret Down with solid fill">
              <a:extLst>
                <a:ext uri="{FF2B5EF4-FFF2-40B4-BE49-F238E27FC236}">
                  <a16:creationId xmlns:a16="http://schemas.microsoft.com/office/drawing/2014/main" id="{A3EBAFDF-AD0F-45E9-8A9F-DCC936CD0A6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16200000">
              <a:off x="9419894" y="2961795"/>
              <a:ext cx="200175" cy="200175"/>
            </a:xfrm>
            <a:prstGeom prst="rect">
              <a:avLst/>
            </a:prstGeom>
          </p:spPr>
        </p:pic>
        <p:pic>
          <p:nvPicPr>
            <p:cNvPr id="27" name="Graphic 26" descr="Caret Down with solid fill">
              <a:extLst>
                <a:ext uri="{FF2B5EF4-FFF2-40B4-BE49-F238E27FC236}">
                  <a16:creationId xmlns:a16="http://schemas.microsoft.com/office/drawing/2014/main" id="{5856FA15-C194-4094-83BD-DD877CCFCB5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16200000">
              <a:off x="10710335" y="2961795"/>
              <a:ext cx="200175" cy="200175"/>
            </a:xfrm>
            <a:prstGeom prst="rect">
              <a:avLst/>
            </a:prstGeom>
          </p:spPr>
        </p:pic>
        <p:pic>
          <p:nvPicPr>
            <p:cNvPr id="28" name="Graphic 27" descr="Caret Down with solid fill">
              <a:extLst>
                <a:ext uri="{FF2B5EF4-FFF2-40B4-BE49-F238E27FC236}">
                  <a16:creationId xmlns:a16="http://schemas.microsoft.com/office/drawing/2014/main" id="{17520848-FE73-4566-B48F-7B0F3A7AC4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6839010" y="3219427"/>
              <a:ext cx="200175" cy="200175"/>
            </a:xfrm>
            <a:prstGeom prst="rect">
              <a:avLst/>
            </a:prstGeom>
          </p:spPr>
        </p:pic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34571822-0E3B-4843-857A-E0C2D35D7EEE}"/>
              </a:ext>
            </a:extLst>
          </p:cNvPr>
          <p:cNvSpPr txBox="1"/>
          <p:nvPr/>
        </p:nvSpPr>
        <p:spPr>
          <a:xfrm>
            <a:off x="298446" y="5131186"/>
            <a:ext cx="7693536" cy="117750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sz="800" b="1">
                <a:solidFill>
                  <a:schemeClr val="tx1">
                    <a:lumMod val="85000"/>
                    <a:lumOff val="15000"/>
                  </a:schemeClr>
                </a:solidFill>
              </a:rPr>
              <a:t>Key / role definitions </a:t>
            </a:r>
            <a:endParaRPr lang="en-US" sz="80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l">
              <a:lnSpc>
                <a:spcPct val="150000"/>
              </a:lnSpc>
            </a:pPr>
            <a:r>
              <a:rPr lang="en-US" sz="800" b="1">
                <a:solidFill>
                  <a:schemeClr val="bg1"/>
                </a:solidFill>
                <a:highlight>
                  <a:srgbClr val="007C91"/>
                </a:highlight>
              </a:rPr>
              <a:t>Commissioner</a:t>
            </a:r>
            <a:r>
              <a:rPr lang="en-US" sz="800" b="0">
                <a:solidFill>
                  <a:schemeClr val="tx1">
                    <a:lumMod val="85000"/>
                    <a:lumOff val="15000"/>
                  </a:schemeClr>
                </a:solidFill>
              </a:rPr>
              <a:t> – Relevant guidance owner responsible for ensuring alternative formats and translations are available </a:t>
            </a:r>
          </a:p>
          <a:p>
            <a:pPr algn="l">
              <a:lnSpc>
                <a:spcPct val="150000"/>
              </a:lnSpc>
            </a:pPr>
            <a:r>
              <a:rPr lang="en-US" sz="800" b="1">
                <a:solidFill>
                  <a:schemeClr val="bg1"/>
                </a:solidFill>
                <a:highlight>
                  <a:srgbClr val="D2A000"/>
                </a:highlight>
              </a:rPr>
              <a:t>Coordinator</a:t>
            </a:r>
            <a:r>
              <a:rPr lang="en-US" sz="80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800" b="0">
                <a:solidFill>
                  <a:schemeClr val="tx1">
                    <a:lumMod val="85000"/>
                    <a:lumOff val="15000"/>
                  </a:schemeClr>
                </a:solidFill>
              </a:rPr>
              <a:t>– Relationship manager with delivery team / supplier</a:t>
            </a:r>
            <a:endParaRPr lang="en-US" sz="800" b="1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800" b="1">
                <a:solidFill>
                  <a:schemeClr val="bg1"/>
                </a:solidFill>
                <a:highlight>
                  <a:srgbClr val="002060"/>
                </a:highlight>
              </a:rPr>
              <a:t>Delivery team / supplier</a:t>
            </a:r>
            <a:r>
              <a:rPr lang="en-US" sz="800" b="1">
                <a:solidFill>
                  <a:schemeClr val="bg1"/>
                </a:solidFill>
              </a:rPr>
              <a:t> </a:t>
            </a:r>
            <a:r>
              <a:rPr lang="en-US" sz="800" b="0">
                <a:solidFill>
                  <a:schemeClr val="tx1">
                    <a:lumMod val="85000"/>
                    <a:lumOff val="15000"/>
                  </a:schemeClr>
                </a:solidFill>
              </a:rPr>
              <a:t>– Responsible for production of alternative formats or </a:t>
            </a:r>
            <a:r>
              <a:rPr lang="en-US" sz="800">
                <a:solidFill>
                  <a:schemeClr val="tx1">
                    <a:lumMod val="85000"/>
                    <a:lumOff val="15000"/>
                  </a:schemeClr>
                </a:solidFill>
              </a:rPr>
              <a:t>translation coordinator</a:t>
            </a:r>
            <a:endParaRPr lang="en-US" sz="800">
              <a:solidFill>
                <a:schemeClr val="tx1">
                  <a:lumMod val="85000"/>
                  <a:lumOff val="15000"/>
                </a:schemeClr>
              </a:solidFill>
              <a:cs typeface="Arial"/>
            </a:endParaRPr>
          </a:p>
          <a:p>
            <a:pPr algn="l">
              <a:lnSpc>
                <a:spcPct val="150000"/>
              </a:lnSpc>
            </a:pPr>
            <a:r>
              <a:rPr lang="en-US" sz="800" b="1">
                <a:solidFill>
                  <a:schemeClr val="bg1"/>
                </a:solidFill>
                <a:highlight>
                  <a:srgbClr val="8C4AB4"/>
                </a:highlight>
              </a:rPr>
              <a:t>User research team</a:t>
            </a:r>
            <a:r>
              <a:rPr lang="en-US" sz="800" b="1">
                <a:solidFill>
                  <a:schemeClr val="bg1"/>
                </a:solidFill>
              </a:rPr>
              <a:t> </a:t>
            </a:r>
            <a:r>
              <a:rPr lang="en-US" sz="800" b="0">
                <a:solidFill>
                  <a:schemeClr val="tx1">
                    <a:lumMod val="85000"/>
                    <a:lumOff val="15000"/>
                  </a:schemeClr>
                </a:solidFill>
              </a:rPr>
              <a:t>– Internal team responsible for long-term review of alternative formats</a:t>
            </a:r>
          </a:p>
          <a:p>
            <a:pPr algn="l">
              <a:lnSpc>
                <a:spcPct val="150000"/>
              </a:lnSpc>
            </a:pPr>
            <a:r>
              <a:rPr lang="en-US" sz="800" b="1">
                <a:solidFill>
                  <a:schemeClr val="bg1"/>
                </a:solidFill>
                <a:highlight>
                  <a:srgbClr val="808080"/>
                </a:highlight>
              </a:rPr>
              <a:t>Health equity and inclusive design team </a:t>
            </a:r>
            <a:r>
              <a:rPr lang="en-US" sz="800"/>
              <a:t>–  Responsible for advice on requirements and best practice for alternative formats and translati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93C51E0-FBA8-A6D5-E47D-02D10EB674A8}"/>
              </a:ext>
            </a:extLst>
          </p:cNvPr>
          <p:cNvSpPr txBox="1"/>
          <p:nvPr/>
        </p:nvSpPr>
        <p:spPr>
          <a:xfrm>
            <a:off x="4286249" y="2918114"/>
            <a:ext cx="5585113" cy="132343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8000">
                <a:cs typeface="Calibri"/>
              </a:rPr>
              <a:t>Draft </a:t>
            </a:r>
            <a:endParaRPr lang="en-GB" sz="8000"/>
          </a:p>
        </p:txBody>
      </p:sp>
    </p:spTree>
    <p:extLst>
      <p:ext uri="{BB962C8B-B14F-4D97-AF65-F5344CB8AC3E}">
        <p14:creationId xmlns:p14="http://schemas.microsoft.com/office/powerpoint/2010/main" val="27325672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11118F-28AE-4ADE-A61D-A38D83097C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956" y="365699"/>
            <a:ext cx="11123856" cy="972607"/>
          </a:xfrm>
        </p:spPr>
        <p:txBody>
          <a:bodyPr/>
          <a:lstStyle/>
          <a:p>
            <a:r>
              <a:rPr lang="en-GB" sz="2800" b="1"/>
              <a:t>AA Global Translation Services – Request Form 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91BC934-604C-42A6-B055-EE6E05CFC4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6599234"/>
              </p:ext>
            </p:extLst>
          </p:nvPr>
        </p:nvGraphicFramePr>
        <p:xfrm>
          <a:off x="3115988" y="1828074"/>
          <a:ext cx="5243813" cy="4368130"/>
        </p:xfrm>
        <a:graphic>
          <a:graphicData uri="http://schemas.openxmlformats.org/drawingml/2006/table">
            <a:tbl>
              <a:tblPr/>
              <a:tblGrid>
                <a:gridCol w="224035">
                  <a:extLst>
                    <a:ext uri="{9D8B030D-6E8A-4147-A177-3AD203B41FA5}">
                      <a16:colId xmlns:a16="http://schemas.microsoft.com/office/drawing/2014/main" val="22990008"/>
                    </a:ext>
                  </a:extLst>
                </a:gridCol>
                <a:gridCol w="959149">
                  <a:extLst>
                    <a:ext uri="{9D8B030D-6E8A-4147-A177-3AD203B41FA5}">
                      <a16:colId xmlns:a16="http://schemas.microsoft.com/office/drawing/2014/main" val="888420894"/>
                    </a:ext>
                  </a:extLst>
                </a:gridCol>
                <a:gridCol w="1596247">
                  <a:extLst>
                    <a:ext uri="{9D8B030D-6E8A-4147-A177-3AD203B41FA5}">
                      <a16:colId xmlns:a16="http://schemas.microsoft.com/office/drawing/2014/main" val="2241529412"/>
                    </a:ext>
                  </a:extLst>
                </a:gridCol>
                <a:gridCol w="126019">
                  <a:extLst>
                    <a:ext uri="{9D8B030D-6E8A-4147-A177-3AD203B41FA5}">
                      <a16:colId xmlns:a16="http://schemas.microsoft.com/office/drawing/2014/main" val="3134126301"/>
                    </a:ext>
                  </a:extLst>
                </a:gridCol>
                <a:gridCol w="224035">
                  <a:extLst>
                    <a:ext uri="{9D8B030D-6E8A-4147-A177-3AD203B41FA5}">
                      <a16:colId xmlns:a16="http://schemas.microsoft.com/office/drawing/2014/main" val="94907768"/>
                    </a:ext>
                  </a:extLst>
                </a:gridCol>
                <a:gridCol w="959149">
                  <a:extLst>
                    <a:ext uri="{9D8B030D-6E8A-4147-A177-3AD203B41FA5}">
                      <a16:colId xmlns:a16="http://schemas.microsoft.com/office/drawing/2014/main" val="219361279"/>
                    </a:ext>
                  </a:extLst>
                </a:gridCol>
                <a:gridCol w="1155179">
                  <a:extLst>
                    <a:ext uri="{9D8B030D-6E8A-4147-A177-3AD203B41FA5}">
                      <a16:colId xmlns:a16="http://schemas.microsoft.com/office/drawing/2014/main" val="3817483338"/>
                    </a:ext>
                  </a:extLst>
                </a:gridCol>
              </a:tblGrid>
              <a:tr h="242130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GB" sz="13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A Global Service Request Form</a:t>
                      </a:r>
                    </a:p>
                  </a:txBody>
                  <a:tcPr marL="6998" marR="6998" marT="6998" marB="33590" anchor="ctr">
                    <a:lnL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201806"/>
                  </a:ext>
                </a:extLst>
              </a:tr>
              <a:tr h="163752">
                <a:tc gridSpan="2"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7063585"/>
                  </a:ext>
                </a:extLst>
              </a:tr>
              <a:tr h="197343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GB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. Requester Details</a:t>
                      </a:r>
                    </a:p>
                  </a:txBody>
                  <a:tcPr marL="6998" marR="6998" marT="6998" marB="33590" anchor="ctr">
                    <a:lnL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en-GB" sz="8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ctr">
                    <a:lnL>
                      <a:noFill/>
                    </a:lnL>
                    <a:lnR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GB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. Request Details</a:t>
                      </a:r>
                    </a:p>
                  </a:txBody>
                  <a:tcPr marL="6998" marR="6998" marT="6998" marB="33590" anchor="ctr">
                    <a:lnL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en-GB" sz="800" b="0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ctr">
                    <a:lnL>
                      <a:noFill/>
                    </a:lnL>
                    <a:lnR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0951977"/>
                  </a:ext>
                </a:extLst>
              </a:tr>
              <a:tr h="174949">
                <a:tc>
                  <a:txBody>
                    <a:bodyPr/>
                    <a:lstStyle/>
                    <a:p>
                      <a:pPr algn="r" fontAlgn="ctr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</a:t>
                      </a:r>
                    </a:p>
                  </a:txBody>
                  <a:tcPr marL="6998" marR="6998" marT="6998" marB="33590" anchor="ctr">
                    <a:lnL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me</a:t>
                      </a:r>
                    </a:p>
                  </a:txBody>
                  <a:tcPr marL="6998" marR="6998" marT="6998" marB="33590" anchor="b">
                    <a:lnL>
                      <a:noFill/>
                    </a:lnL>
                    <a:lnR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1</a:t>
                      </a:r>
                    </a:p>
                  </a:txBody>
                  <a:tcPr marL="6998" marR="6998" marT="6998" marB="33590" anchor="b">
                    <a:lnL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der Date</a:t>
                      </a:r>
                    </a:p>
                  </a:txBody>
                  <a:tcPr marL="6998" marR="6998" marT="6998" marB="33590" anchor="b">
                    <a:lnL>
                      <a:noFill/>
                    </a:lnL>
                    <a:lnR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2645295"/>
                  </a:ext>
                </a:extLst>
              </a:tr>
              <a:tr h="174949">
                <a:tc>
                  <a:txBody>
                    <a:bodyPr/>
                    <a:lstStyle/>
                    <a:p>
                      <a:pPr algn="r" fontAlgn="ctr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</a:t>
                      </a:r>
                    </a:p>
                  </a:txBody>
                  <a:tcPr marL="6998" marR="6998" marT="6998" marB="33590" anchor="ctr">
                    <a:lnL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ail</a:t>
                      </a:r>
                    </a:p>
                  </a:txBody>
                  <a:tcPr marL="6998" marR="6998" marT="6998" marB="33590" anchor="b">
                    <a:lnL>
                      <a:noFill/>
                    </a:lnL>
                    <a:lnR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</a:t>
                      </a:r>
                    </a:p>
                  </a:txBody>
                  <a:tcPr marL="6998" marR="6998" marT="6998" marB="33590" anchor="b">
                    <a:lnL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 Level</a:t>
                      </a:r>
                    </a:p>
                  </a:txBody>
                  <a:tcPr marL="6998" marR="6998" marT="6998" marB="33590" anchor="b">
                    <a:lnL>
                      <a:noFill/>
                    </a:lnL>
                    <a:lnR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Please Select]</a:t>
                      </a:r>
                    </a:p>
                  </a:txBody>
                  <a:tcPr marL="6998" marR="6998" marT="6998" marB="33590" anchor="b">
                    <a:lnL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656017"/>
                  </a:ext>
                </a:extLst>
              </a:tr>
              <a:tr h="174949">
                <a:tc>
                  <a:txBody>
                    <a:bodyPr/>
                    <a:lstStyle/>
                    <a:p>
                      <a:pPr algn="r" fontAlgn="ctr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</a:t>
                      </a:r>
                    </a:p>
                  </a:txBody>
                  <a:tcPr marL="6998" marR="6998" marT="6998" marB="33590" anchor="ctr">
                    <a:lnL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torate</a:t>
                      </a:r>
                    </a:p>
                  </a:txBody>
                  <a:tcPr marL="6998" marR="6998" marT="6998" marB="33590" anchor="b">
                    <a:lnL>
                      <a:noFill/>
                    </a:lnL>
                    <a:lnR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Please Select]</a:t>
                      </a:r>
                    </a:p>
                  </a:txBody>
                  <a:tcPr marL="6998" marR="6998" marT="6998" marB="33590" anchor="b">
                    <a:lnL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</a:t>
                      </a:r>
                    </a:p>
                  </a:txBody>
                  <a:tcPr marL="6998" marR="6998" marT="6998" marB="33590" anchor="b">
                    <a:lnL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Required by</a:t>
                      </a:r>
                    </a:p>
                  </a:txBody>
                  <a:tcPr marL="6998" marR="6998" marT="6998" marB="33590" anchor="b">
                    <a:lnL>
                      <a:noFill/>
                    </a:lnL>
                    <a:lnR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5889477"/>
                  </a:ext>
                </a:extLst>
              </a:tr>
              <a:tr h="174949">
                <a:tc>
                  <a:txBody>
                    <a:bodyPr/>
                    <a:lstStyle/>
                    <a:p>
                      <a:pPr algn="r" fontAlgn="ctr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</a:t>
                      </a:r>
                    </a:p>
                  </a:txBody>
                  <a:tcPr marL="6998" marR="6998" marT="6998" marB="33590" anchor="ctr">
                    <a:lnL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am/Department</a:t>
                      </a:r>
                    </a:p>
                  </a:txBody>
                  <a:tcPr marL="6998" marR="6998" marT="6998" marB="33590" anchor="b">
                    <a:lnL>
                      <a:noFill/>
                    </a:lnL>
                    <a:lnR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</a:t>
                      </a:r>
                    </a:p>
                  </a:txBody>
                  <a:tcPr marL="6998" marR="6998" marT="6998" marB="33590" anchor="b">
                    <a:lnL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pe of Request</a:t>
                      </a:r>
                    </a:p>
                  </a:txBody>
                  <a:tcPr marL="6998" marR="6998" marT="6998" marB="33590" anchor="b">
                    <a:lnL>
                      <a:noFill/>
                    </a:lnL>
                    <a:lnR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Please Select]</a:t>
                      </a:r>
                    </a:p>
                  </a:txBody>
                  <a:tcPr marL="6998" marR="6998" marT="6998" marB="33590" anchor="b">
                    <a:lnL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0456153"/>
                  </a:ext>
                </a:extLst>
              </a:tr>
              <a:tr h="174949">
                <a:tc>
                  <a:txBody>
                    <a:bodyPr/>
                    <a:lstStyle/>
                    <a:p>
                      <a:pPr algn="r" fontAlgn="ctr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7259597"/>
                  </a:ext>
                </a:extLst>
              </a:tr>
              <a:tr h="197343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en-GB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. Request Description</a:t>
                      </a:r>
                    </a:p>
                  </a:txBody>
                  <a:tcPr marL="6998" marR="6998" marT="6998" marB="33590" anchor="ctr">
                    <a:lnL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3699174"/>
                  </a:ext>
                </a:extLst>
              </a:tr>
              <a:tr h="839756">
                <a:tc gridSpan="7">
                  <a:txBody>
                    <a:bodyPr/>
                    <a:lstStyle/>
                    <a:p>
                      <a:pPr algn="l" fontAlgn="t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>
                    <a:lnL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0006366"/>
                  </a:ext>
                </a:extLst>
              </a:tr>
              <a:tr h="174949">
                <a:tc gridSpan="2">
                  <a:txBody>
                    <a:bodyPr/>
                    <a:lstStyle/>
                    <a:p>
                      <a:pPr algn="l" fontAlgn="ctr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672672"/>
                  </a:ext>
                </a:extLst>
              </a:tr>
              <a:tr h="197343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en-GB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. Additional Information / Comments</a:t>
                      </a:r>
                    </a:p>
                  </a:txBody>
                  <a:tcPr marL="6998" marR="6998" marT="6998" marB="33590" anchor="ctr">
                    <a:lnL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79424"/>
                  </a:ext>
                </a:extLst>
              </a:tr>
              <a:tr h="741785">
                <a:tc gridSpan="7">
                  <a:txBody>
                    <a:bodyPr/>
                    <a:lstStyle/>
                    <a:p>
                      <a:pPr algn="l" fontAlgn="t"/>
                      <a:endParaRPr lang="en-GB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>
                    <a:lnL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8512068"/>
                  </a:ext>
                </a:extLst>
              </a:tr>
              <a:tr h="163752">
                <a:tc gridSpan="2"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1971578"/>
                  </a:ext>
                </a:extLst>
              </a:tr>
              <a:tr h="197343"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ion Date</a:t>
                      </a:r>
                    </a:p>
                  </a:txBody>
                  <a:tcPr marL="6998" marR="6998" marT="6998" marB="33590" anchor="ctr">
                    <a:lnL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0081101"/>
                  </a:ext>
                </a:extLst>
              </a:tr>
              <a:tr h="197343"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. Number</a:t>
                      </a:r>
                    </a:p>
                  </a:txBody>
                  <a:tcPr marL="6998" marR="6998" marT="6998" marB="33590" anchor="ctr">
                    <a:lnL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7809415"/>
                  </a:ext>
                </a:extLst>
              </a:tr>
              <a:tr h="163752">
                <a:tc gridSpan="2"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2037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98" marR="6998" marT="6998" marB="3359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09555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63737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1BF62F-E1C1-445D-8214-964149078D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AA Global Translation Request Process 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D1C3FFBD-155A-4E7C-99D2-20794AEEB8F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42325843"/>
              </p:ext>
            </p:extLst>
          </p:nvPr>
        </p:nvGraphicFramePr>
        <p:xfrm>
          <a:off x="306391" y="1371351"/>
          <a:ext cx="11885609" cy="50296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8" name="TextBox 27">
            <a:extLst>
              <a:ext uri="{FF2B5EF4-FFF2-40B4-BE49-F238E27FC236}">
                <a16:creationId xmlns:a16="http://schemas.microsoft.com/office/drawing/2014/main" id="{0DCEE4E0-6E62-2095-DB0E-CCB6745224F9}"/>
              </a:ext>
            </a:extLst>
          </p:cNvPr>
          <p:cNvSpPr txBox="1"/>
          <p:nvPr/>
        </p:nvSpPr>
        <p:spPr>
          <a:xfrm>
            <a:off x="6312477" y="2156113"/>
            <a:ext cx="3420339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400">
                <a:cs typeface="Calibri"/>
              </a:rPr>
              <a:t>*Quotes will be approved by Design Ops </a:t>
            </a:r>
            <a:endParaRPr lang="en-GB" sz="1400"/>
          </a:p>
        </p:txBody>
      </p:sp>
    </p:spTree>
    <p:extLst>
      <p:ext uri="{BB962C8B-B14F-4D97-AF65-F5344CB8AC3E}">
        <p14:creationId xmlns:p14="http://schemas.microsoft.com/office/powerpoint/2010/main" val="40465120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E3E55D-F7D4-4B81-95FE-33F28E4450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>
                <a:latin typeface="Arial"/>
                <a:cs typeface="Arial"/>
              </a:rPr>
              <a:t>Invoice Tracking/Payment </a:t>
            </a:r>
            <a:endParaRPr lang="en-GB" b="1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D8C63950-4A72-4F9E-B4A1-FE37F2276B6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59325344"/>
              </p:ext>
            </p:extLst>
          </p:nvPr>
        </p:nvGraphicFramePr>
        <p:xfrm>
          <a:off x="330206" y="1469504"/>
          <a:ext cx="11123613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AFF33869-25A3-4C01-AF47-FF6693E2C666}"/>
              </a:ext>
            </a:extLst>
          </p:cNvPr>
          <p:cNvSpPr txBox="1"/>
          <p:nvPr/>
        </p:nvSpPr>
        <p:spPr>
          <a:xfrm>
            <a:off x="3271775" y="5080744"/>
            <a:ext cx="5246390" cy="923330"/>
          </a:xfrm>
          <a:prstGeom prst="rect">
            <a:avLst/>
          </a:prstGeom>
          <a:solidFill>
            <a:srgbClr val="9AEDDA"/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/>
              <a:t>When the quote is entered into the </a:t>
            </a:r>
            <a:r>
              <a:rPr lang="en-GB" b="1"/>
              <a:t>Translation Tracker </a:t>
            </a:r>
            <a:r>
              <a:rPr lang="en-GB"/>
              <a:t>it automatically updates the </a:t>
            </a:r>
            <a:r>
              <a:rPr lang="en-GB" b="1"/>
              <a:t>Monthly Accruals </a:t>
            </a:r>
            <a:r>
              <a:rPr lang="en-GB"/>
              <a:t>spreadsheet for Finance </a:t>
            </a:r>
            <a:r>
              <a:rPr lang="en-GB">
                <a:hlinkClick r:id="rId7"/>
              </a:rPr>
              <a:t>Monthly accruals.xlsx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40910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04CFC9-313A-46C1-93DA-8C6575113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A Global Contact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4E0C2C-8515-4AAD-A253-A3175A260D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/>
              <a:t>Contracts Manager</a:t>
            </a:r>
            <a:r>
              <a:rPr lang="en-GB"/>
              <a:t>: Jayne Robinson  </a:t>
            </a:r>
            <a:r>
              <a:rPr lang="en-GB">
                <a:hlinkClick r:id="rId2"/>
              </a:rPr>
              <a:t>jayne@aaglobal.co.uk</a:t>
            </a:r>
            <a:endParaRPr lang="en-GB"/>
          </a:p>
          <a:p>
            <a:r>
              <a:rPr lang="en-GB" b="1"/>
              <a:t>Accounts</a:t>
            </a:r>
            <a:r>
              <a:rPr lang="en-GB"/>
              <a:t>: Francesca Thompson </a:t>
            </a:r>
            <a:r>
              <a:rPr lang="en-GB">
                <a:hlinkClick r:id="rId3"/>
              </a:rPr>
              <a:t>francesca@aaglobal.co.uk</a:t>
            </a:r>
            <a:endParaRPr lang="en-GB"/>
          </a:p>
          <a:p>
            <a:r>
              <a:rPr lang="en-GB" b="1"/>
              <a:t>Translations Department Manager</a:t>
            </a:r>
            <a:r>
              <a:rPr lang="en-GB"/>
              <a:t>: Yulia Pavlova </a:t>
            </a:r>
            <a:r>
              <a:rPr lang="en-GB">
                <a:hlinkClick r:id="rId4"/>
              </a:rPr>
              <a:t>yulia@aaglobal.co.uk</a:t>
            </a:r>
            <a:endParaRPr lang="en-GB"/>
          </a:p>
          <a:p>
            <a:endParaRPr lang="en-GB"/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51744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RtVWZG5eobMg3lvkpxF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aZr6tYjmeqpv4rUO8sb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RtVWZG5eobMg3lvkpxF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rVXYT3LUAxHymP_0Ozv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rVXYT3LUAxHymP_0Ozv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rVXYT3LUAxHymP_0Ozv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OYfu8zzSdzysEhK4rn9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5ZHKFKw_3z6RObZvlz_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CTeOM0paQVoDtuhi4i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KHSA Presentation template 16-9.potx" id="{FCCDE917-761C-8D46-810E-9C486E1425E5}" vid="{0BBDD5EF-1167-7B45-8C70-F265FAF40350}"/>
    </a:ext>
  </a:extLst>
</a:theme>
</file>

<file path=ppt/theme/theme2.xml><?xml version="1.0" encoding="utf-8"?>
<a:theme xmlns:a="http://schemas.openxmlformats.org/drawingml/2006/main" name="13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5EB8"/>
      </a:accent1>
      <a:accent2>
        <a:srgbClr val="0080EA"/>
      </a:accent2>
      <a:accent3>
        <a:srgbClr val="003087"/>
      </a:accent3>
      <a:accent4>
        <a:srgbClr val="41B6E6"/>
      </a:accent4>
      <a:accent5>
        <a:srgbClr val="009639"/>
      </a:accent5>
      <a:accent6>
        <a:srgbClr val="768692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5EB8"/>
        </a:accent1>
        <a:accent2>
          <a:srgbClr val="0080EA"/>
        </a:accent2>
        <a:accent3>
          <a:srgbClr val="003087"/>
        </a:accent3>
        <a:accent4>
          <a:srgbClr val="41B6E6"/>
        </a:accent4>
        <a:accent5>
          <a:srgbClr val="009639"/>
        </a:accent5>
        <a:accent6>
          <a:srgbClr val="768692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LO4179_OFF.potx" id="{DB0E23F3-47F5-43E7-B450-5E2F07266FA2}" vid="{25C3D60F-EC05-40D4-A6E4-2279F3BBFB30}"/>
    </a:ext>
  </a:extLst>
</a:theme>
</file>

<file path=ppt/theme/theme3.xml><?xml version="1.0" encoding="utf-8"?>
<a:theme xmlns:a="http://schemas.openxmlformats.org/drawingml/2006/main" name="1_NHS Grid 16:9 - 11969">
  <a:themeElements>
    <a:clrScheme name="NHS">
      <a:dk1>
        <a:srgbClr val="425563"/>
      </a:dk1>
      <a:lt1>
        <a:sysClr val="window" lastClr="FFFFFF"/>
      </a:lt1>
      <a:dk2>
        <a:srgbClr val="005EB8"/>
      </a:dk2>
      <a:lt2>
        <a:srgbClr val="F2F2F2"/>
      </a:lt2>
      <a:accent1>
        <a:srgbClr val="003087"/>
      </a:accent1>
      <a:accent2>
        <a:srgbClr val="0072CE"/>
      </a:accent2>
      <a:accent3>
        <a:srgbClr val="FFFFFF"/>
      </a:accent3>
      <a:accent4>
        <a:srgbClr val="41B6E6"/>
      </a:accent4>
      <a:accent5>
        <a:srgbClr val="768692"/>
      </a:accent5>
      <a:accent6>
        <a:srgbClr val="009639"/>
      </a:accent6>
      <a:hlink>
        <a:srgbClr val="41B6E6"/>
      </a:hlink>
      <a:folHlink>
        <a:srgbClr val="00A9CE"/>
      </a:folHlink>
    </a:clrScheme>
    <a:fontScheme name="B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5EB8"/>
        </a:solidFill>
        <a:ln w="9525" cap="rnd" cmpd="sng" algn="ctr">
          <a:solidFill>
            <a:srgbClr val="005EB8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425563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303916-71-22Sep20-AT-int-LON" id="{883258FC-2AC3-4684-8C52-8ACF9FCC93C7}" vid="{99DD8922-E53B-434B-91D0-E234AB2A76B8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d6df063-577e-4de6-88ed-51e1f5620eda">
      <UserInfo>
        <DisplayName>Newall, Emma</DisplayName>
        <AccountId>211</AccountId>
        <AccountType/>
      </UserInfo>
      <UserInfo>
        <DisplayName>Farney, Carmen</DisplayName>
        <AccountId>313</AccountId>
        <AccountType/>
      </UserInfo>
    </SharedWithUsers>
    <TaxCatchAll xmlns="cd6df063-577e-4de6-88ed-51e1f5620eda" xsi:nil="true"/>
    <lcf76f155ced4ddcb4097134ff3c332f xmlns="a8b6051c-b1d2-4d9e-b7ff-319791e65523">
      <Terms xmlns="http://schemas.microsoft.com/office/infopath/2007/PartnerControls"/>
    </lcf76f155ced4ddcb4097134ff3c332f>
    <DocumentType xmlns="a8b6051c-b1d2-4d9e-b7ff-319791e65523" xsi:nil="true"/>
    <GenericFunction xmlns="a8b6051c-b1d2-4d9e-b7ff-319791e65523" xsi:nil="true"/>
    <TaxKeywordTaxHTField xmlns="cd6df063-577e-4de6-88ed-51e1f5620eda">
      <Terms xmlns="http://schemas.microsoft.com/office/infopath/2007/PartnerControls"/>
    </TaxKeywordTaxHTField>
    <Guidance xmlns="a8b6051c-b1d2-4d9e-b7ff-319791e65523">UKHSA Covid 19 Guidance</Guidance>
    <SubjectMatter xmlns="a8b6051c-b1d2-4d9e-b7ff-319791e6552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EF7A2B55D4C12488BD51F074C306D94" ma:contentTypeVersion="21" ma:contentTypeDescription="Create a new document." ma:contentTypeScope="" ma:versionID="d657fa5ac8902f2d0d85499366f1e5b8">
  <xsd:schema xmlns:xsd="http://www.w3.org/2001/XMLSchema" xmlns:xs="http://www.w3.org/2001/XMLSchema" xmlns:p="http://schemas.microsoft.com/office/2006/metadata/properties" xmlns:ns2="a8b6051c-b1d2-4d9e-b7ff-319791e65523" xmlns:ns3="cd6df063-577e-4de6-88ed-51e1f5620eda" targetNamespace="http://schemas.microsoft.com/office/2006/metadata/properties" ma:root="true" ma:fieldsID="4bc7679e47de18bdbb39658770ea4d1e" ns2:_="" ns3:_="">
    <xsd:import namespace="a8b6051c-b1d2-4d9e-b7ff-319791e65523"/>
    <xsd:import namespace="cd6df063-577e-4de6-88ed-51e1f5620ed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GenericFunction" minOccurs="0"/>
                <xsd:element ref="ns2:SubjectMatter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3:TaxKeywordTaxHTField" minOccurs="0"/>
                <xsd:element ref="ns3:SharedWithUsers" minOccurs="0"/>
                <xsd:element ref="ns3:SharedWithDetails" minOccurs="0"/>
                <xsd:element ref="ns2:DocumentType" minOccurs="0"/>
                <xsd:element ref="ns2:Guidanc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b6051c-b1d2-4d9e-b7ff-319791e6552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GenericFunction" ma:index="12" nillable="true" ma:displayName="Generic Function" ma:format="Dropdown" ma:internalName="GenericFunction">
      <xsd:simpleType>
        <xsd:restriction base="dms:Text">
          <xsd:maxLength value="255"/>
        </xsd:restriction>
      </xsd:simpleType>
    </xsd:element>
    <xsd:element name="SubjectMatter" ma:index="13" nillable="true" ma:displayName="SubjectMatter" ma:description="Covid-19" ma:format="Dropdown" ma:internalName="SubjectMatter">
      <xsd:simpleType>
        <xsd:restriction base="dms:Text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e289f538-edf0-4bde-b084-18e01efd0e8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  <xsd:element name="DocumentType" ma:index="27" nillable="true" ma:displayName="Document Type" ma:format="Dropdown" ma:internalName="DocumentType">
      <xsd:simpleType>
        <xsd:restriction base="dms:Text">
          <xsd:maxLength value="255"/>
        </xsd:restriction>
      </xsd:simpleType>
    </xsd:element>
    <xsd:element name="Guidance" ma:index="28" nillable="true" ma:displayName="Guidance" ma:description="Type of Guidance" ma:format="Dropdown" ma:internalName="Guidance">
      <xsd:simpleType>
        <xsd:restriction base="dms:Choice">
          <xsd:enumeration value="Guidance - Planning"/>
          <xsd:enumeration value="UKHSA External H &amp; J Guidance"/>
          <xsd:enumeration value="UKHSA Internal H &amp; J Guidance"/>
          <xsd:enumeration value="UKHSA Covid 19 Guidanc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6df063-577e-4de6-88ed-51e1f5620eda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c7c831f9-0a0e-4a39-a845-3496ff486e6c}" ma:internalName="TaxCatchAll" ma:showField="CatchAllData" ma:web="cd6df063-577e-4de6-88ed-51e1f5620ed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24" nillable="true" ma:taxonomy="true" ma:internalName="TaxKeywordTaxHTField" ma:taxonomyFieldName="TaxKeyword" ma:displayName="Enterprise Keywords" ma:fieldId="{23f27201-bee3-471e-b2e7-b64fd8b7ca38}" ma:taxonomyMulti="true" ma:sspId="e289f538-edf0-4bde-b084-18e01efd0e88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SharedWithUsers" ma:index="2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1ACA7D0-3E24-4A52-988E-5D28C022BFC5}">
  <ds:schemaRefs>
    <ds:schemaRef ds:uri="55fa54ea-0872-48aa-859a-0ee243c14fa5"/>
    <ds:schemaRef ds:uri="821ee45e-9060-433a-84dc-bd9a718d1d9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cd6df063-577e-4de6-88ed-51e1f5620eda"/>
    <ds:schemaRef ds:uri="a8b6051c-b1d2-4d9e-b7ff-319791e65523"/>
  </ds:schemaRefs>
</ds:datastoreItem>
</file>

<file path=customXml/itemProps2.xml><?xml version="1.0" encoding="utf-8"?>
<ds:datastoreItem xmlns:ds="http://schemas.openxmlformats.org/officeDocument/2006/customXml" ds:itemID="{332FF145-429B-42BF-B126-2F5D13096C7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ADA56EA-8290-4C7A-ABEC-ED36083AD86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b6051c-b1d2-4d9e-b7ff-319791e65523"/>
    <ds:schemaRef ds:uri="cd6df063-577e-4de6-88ed-51e1f5620ed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29</Words>
  <Application>Microsoft Office PowerPoint</Application>
  <PresentationFormat>Widescreen</PresentationFormat>
  <Paragraphs>141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Calibri</vt:lpstr>
      <vt:lpstr>Calibri Light</vt:lpstr>
      <vt:lpstr>Segoe UI</vt:lpstr>
      <vt:lpstr>Trebuchet MS</vt:lpstr>
      <vt:lpstr>Wingdings</vt:lpstr>
      <vt:lpstr>1_Office Theme</vt:lpstr>
      <vt:lpstr>13_White</vt:lpstr>
      <vt:lpstr>1_NHS Grid 16:9 - 11969</vt:lpstr>
      <vt:lpstr>think-cell Slide</vt:lpstr>
      <vt:lpstr>AA Global Service Request Process   Health Protection Team   October 2022  </vt:lpstr>
      <vt:lpstr>AA Global Language Services </vt:lpstr>
      <vt:lpstr>AA Global Translation Services UKHSA Alternative Formats &amp; Translation Proposed Workflow  DRAFT</vt:lpstr>
      <vt:lpstr>AA Global Translation Services – Request Form </vt:lpstr>
      <vt:lpstr>AA Global Translation Request Process </vt:lpstr>
      <vt:lpstr>Invoice Tracking/Payment </vt:lpstr>
      <vt:lpstr>AA Global Contact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KHSA Strategy Away Day  21st October 2021</dc:title>
  <dc:creator>Bolton, Lucy</dc:creator>
  <cp:lastModifiedBy>Karen Manser</cp:lastModifiedBy>
  <cp:revision>2</cp:revision>
  <dcterms:created xsi:type="dcterms:W3CDTF">2021-10-18T14:41:30Z</dcterms:created>
  <dcterms:modified xsi:type="dcterms:W3CDTF">2023-11-06T20:38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EF7A2B55D4C12488BD51F074C306D94</vt:lpwstr>
  </property>
  <property fmtid="{D5CDD505-2E9C-101B-9397-08002B2CF9AE}" pid="3" name="MediaServiceImageTags">
    <vt:lpwstr/>
  </property>
  <property fmtid="{D5CDD505-2E9C-101B-9397-08002B2CF9AE}" pid="4" name="TaxKeyword">
    <vt:lpwstr/>
  </property>
</Properties>
</file>